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3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4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16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4"/>
  </p:notesMasterIdLst>
  <p:sldIdLst>
    <p:sldId id="256" r:id="rId2"/>
    <p:sldId id="257" r:id="rId3"/>
    <p:sldId id="259" r:id="rId4"/>
    <p:sldId id="258" r:id="rId5"/>
    <p:sldId id="305" r:id="rId6"/>
    <p:sldId id="274" r:id="rId7"/>
    <p:sldId id="275" r:id="rId8"/>
    <p:sldId id="311" r:id="rId9"/>
    <p:sldId id="312" r:id="rId10"/>
    <p:sldId id="271" r:id="rId11"/>
    <p:sldId id="307" r:id="rId12"/>
    <p:sldId id="308" r:id="rId13"/>
    <p:sldId id="309" r:id="rId14"/>
    <p:sldId id="313" r:id="rId15"/>
    <p:sldId id="316" r:id="rId16"/>
    <p:sldId id="314" r:id="rId17"/>
    <p:sldId id="317" r:id="rId18"/>
    <p:sldId id="318" r:id="rId19"/>
    <p:sldId id="319" r:id="rId20"/>
    <p:sldId id="320" r:id="rId21"/>
    <p:sldId id="321" r:id="rId22"/>
    <p:sldId id="322" r:id="rId23"/>
    <p:sldId id="323" r:id="rId24"/>
    <p:sldId id="324" r:id="rId25"/>
    <p:sldId id="325" r:id="rId26"/>
    <p:sldId id="326" r:id="rId27"/>
    <p:sldId id="327" r:id="rId28"/>
    <p:sldId id="328" r:id="rId29"/>
    <p:sldId id="329" r:id="rId30"/>
    <p:sldId id="331" r:id="rId31"/>
    <p:sldId id="330" r:id="rId32"/>
    <p:sldId id="332" r:id="rId33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eremy Laurent" initials="JL" lastIdx="1" clrIdx="0">
    <p:extLst>
      <p:ext uri="{19B8F6BF-5375-455C-9EA6-DF929625EA0E}">
        <p15:presenceInfo xmlns:p15="http://schemas.microsoft.com/office/powerpoint/2012/main" userId="c9f22d26f59caefb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6357" autoAdjust="0"/>
  </p:normalViewPr>
  <p:slideViewPr>
    <p:cSldViewPr snapToGrid="0">
      <p:cViewPr varScale="1">
        <p:scale>
          <a:sx n="114" d="100"/>
          <a:sy n="114" d="100"/>
        </p:scale>
        <p:origin x="474" y="12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commentAuthors" Target="commentAuthor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5AF61FF-CD3F-4320-9644-1A666005F5D3}" type="doc">
      <dgm:prSet loTypeId="urn:madeinoffice.com/office/officeart/2005/8/layout/ProzessketteMitTextboxenUnterhalb" loCatId="other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98F2F1A7-4A47-4E17-AB3A-363BE2C2C135}">
      <dgm:prSet phldrT="[Text]" custT="1"/>
      <dgm:spPr/>
      <dgm:t>
        <a:bodyPr/>
        <a:lstStyle/>
        <a:p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Phase de préparation</a:t>
          </a:r>
        </a:p>
      </dgm:t>
    </dgm:pt>
    <dgm:pt modelId="{E8F90E9B-F257-4A21-B73C-4532CEC821F5}" type="parTrans" cxnId="{6285F0BC-D552-4056-AF2A-6CE18EAAA8E9}">
      <dgm:prSet/>
      <dgm:spPr/>
      <dgm:t>
        <a:bodyPr/>
        <a:lstStyle/>
        <a:p>
          <a:endParaRPr lang="en-US" sz="1400" b="1">
            <a:solidFill>
              <a:schemeClr val="bg1"/>
            </a:solidFill>
            <a:latin typeface="Reem Kufi Regular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A40B4662-56EA-4825-9EB3-7887EA865A14}" type="sibTrans" cxnId="{6285F0BC-D552-4056-AF2A-6CE18EAAA8E9}">
      <dgm:prSet/>
      <dgm:spPr/>
      <dgm:t>
        <a:bodyPr/>
        <a:lstStyle/>
        <a:p>
          <a:endParaRPr lang="en-US" sz="1400" b="1">
            <a:solidFill>
              <a:schemeClr val="bg1"/>
            </a:solidFill>
            <a:latin typeface="Reem Kufi Regular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64ED7F40-5AA2-456C-83D8-70D4068E4A66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Auto-formation aux principes du machine-learning</a:t>
          </a:r>
        </a:p>
      </dgm:t>
    </dgm:pt>
    <dgm:pt modelId="{A11D4BC6-DCFC-42CE-8F2D-5D526E48A5CE}" type="parTrans" cxnId="{8BDC8791-C7DC-48EB-AE2B-C3D73347034E}">
      <dgm:prSet/>
      <dgm:spPr/>
      <dgm:t>
        <a:bodyPr/>
        <a:lstStyle/>
        <a:p>
          <a:endParaRPr lang="fr-FR"/>
        </a:p>
      </dgm:t>
    </dgm:pt>
    <dgm:pt modelId="{FE33E613-6E3A-45C8-B821-C76A6881D16A}" type="sibTrans" cxnId="{8BDC8791-C7DC-48EB-AE2B-C3D73347034E}">
      <dgm:prSet/>
      <dgm:spPr/>
      <dgm:t>
        <a:bodyPr/>
        <a:lstStyle/>
        <a:p>
          <a:endParaRPr lang="fr-FR"/>
        </a:p>
      </dgm:t>
    </dgm:pt>
    <dgm:pt modelId="{03760581-3077-46CC-A047-044CCB08DE09}">
      <dgm:prSet phldrT="[Text]" custT="1"/>
      <dgm:spPr/>
      <dgm:t>
        <a:bodyPr/>
        <a:lstStyle/>
        <a:p>
          <a:pPr algn="ctr"/>
          <a:endParaRPr lang="de-DE" sz="1600" b="1" dirty="0">
            <a:solidFill>
              <a:schemeClr val="bg1"/>
            </a:solidFill>
            <a:latin typeface="Reem Kufi Regular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79C83EEF-06A9-4255-A205-C8C7C3327A8E}" type="parTrans" cxnId="{EAEDC101-C8B8-462B-BFC4-5D1DCCB77779}">
      <dgm:prSet/>
      <dgm:spPr/>
      <dgm:t>
        <a:bodyPr/>
        <a:lstStyle/>
        <a:p>
          <a:endParaRPr lang="fr-FR"/>
        </a:p>
      </dgm:t>
    </dgm:pt>
    <dgm:pt modelId="{AF58A036-82F8-45CD-8F80-83AC587796CD}" type="sibTrans" cxnId="{EAEDC101-C8B8-462B-BFC4-5D1DCCB77779}">
      <dgm:prSet/>
      <dgm:spPr/>
      <dgm:t>
        <a:bodyPr/>
        <a:lstStyle/>
        <a:p>
          <a:endParaRPr lang="fr-FR"/>
        </a:p>
      </dgm:t>
    </dgm:pt>
    <dgm:pt modelId="{7401B0DE-61BF-4A88-BB5B-B392E0E49FB6}">
      <dgm:prSet phldrT="[Text]" custT="1"/>
      <dgm:spPr/>
      <dgm:t>
        <a:bodyPr/>
        <a:lstStyle/>
        <a:p>
          <a:pPr algn="ctr"/>
          <a:endParaRPr lang="de-DE" sz="1600" b="1" dirty="0">
            <a:solidFill>
              <a:schemeClr val="bg1"/>
            </a:solidFill>
            <a:latin typeface="Reem Kufi Regular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F84B43F1-7255-4C67-9996-27C0C5A4B06D}" type="parTrans" cxnId="{AA03D7A4-8B06-446B-97D2-A5BEAA155443}">
      <dgm:prSet/>
      <dgm:spPr/>
      <dgm:t>
        <a:bodyPr/>
        <a:lstStyle/>
        <a:p>
          <a:endParaRPr lang="fr-FR"/>
        </a:p>
      </dgm:t>
    </dgm:pt>
    <dgm:pt modelId="{0BFC7983-B561-4C4A-A69C-6D23B1A01810}" type="sibTrans" cxnId="{AA03D7A4-8B06-446B-97D2-A5BEAA155443}">
      <dgm:prSet/>
      <dgm:spPr/>
      <dgm:t>
        <a:bodyPr/>
        <a:lstStyle/>
        <a:p>
          <a:endParaRPr lang="fr-FR"/>
        </a:p>
      </dgm:t>
    </dgm:pt>
    <dgm:pt modelId="{5ACF19B5-E364-4396-9C9F-0C6F6678B543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s techniques de compréhension de texte </a:t>
          </a:r>
        </a:p>
      </dgm:t>
    </dgm:pt>
    <dgm:pt modelId="{5C011B18-62E2-41D3-9672-24E5251FE749}" type="parTrans" cxnId="{F9C773B4-0458-4640-B278-85BBA57855FA}">
      <dgm:prSet/>
      <dgm:spPr/>
      <dgm:t>
        <a:bodyPr/>
        <a:lstStyle/>
        <a:p>
          <a:endParaRPr lang="fr-FR"/>
        </a:p>
      </dgm:t>
    </dgm:pt>
    <dgm:pt modelId="{017DA7CA-48AC-4AE3-B206-FDD51FB11C4F}" type="sibTrans" cxnId="{F9C773B4-0458-4640-B278-85BBA57855FA}">
      <dgm:prSet/>
      <dgm:spPr/>
      <dgm:t>
        <a:bodyPr/>
        <a:lstStyle/>
        <a:p>
          <a:endParaRPr lang="fr-FR"/>
        </a:p>
      </dgm:t>
    </dgm:pt>
    <dgm:pt modelId="{88E841CF-01DA-439D-926E-9D9BE433561D}">
      <dgm:prSet phldrT="[Text]" custT="1"/>
      <dgm:spPr/>
      <dgm:t>
        <a:bodyPr/>
        <a:lstStyle/>
        <a:p>
          <a:pPr algn="l"/>
          <a:endParaRPr lang="de-DE" sz="1600" b="1" dirty="0">
            <a:solidFill>
              <a:schemeClr val="bg1"/>
            </a:solidFill>
            <a:latin typeface="Reem Kufi Regular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644F8D59-76EC-4427-9905-9B671492A068}" type="parTrans" cxnId="{E4127CF1-9027-4FCD-9C8F-C2E029AFE82C}">
      <dgm:prSet/>
      <dgm:spPr/>
      <dgm:t>
        <a:bodyPr/>
        <a:lstStyle/>
        <a:p>
          <a:endParaRPr lang="fr-FR"/>
        </a:p>
      </dgm:t>
    </dgm:pt>
    <dgm:pt modelId="{16933660-E66B-4B32-A2A6-B52B518548A6}" type="sibTrans" cxnId="{E4127CF1-9027-4FCD-9C8F-C2E029AFE82C}">
      <dgm:prSet/>
      <dgm:spPr/>
      <dgm:t>
        <a:bodyPr/>
        <a:lstStyle/>
        <a:p>
          <a:endParaRPr lang="fr-FR"/>
        </a:p>
      </dgm:t>
    </dgm:pt>
    <dgm:pt modelId="{85983522-54B0-41CC-BE51-EE1131B3765A}" type="pres">
      <dgm:prSet presAssocID="{25AF61FF-CD3F-4320-9644-1A666005F5D3}" presName="Name0" presStyleCnt="0">
        <dgm:presLayoutVars>
          <dgm:dir/>
        </dgm:presLayoutVars>
      </dgm:prSet>
      <dgm:spPr/>
    </dgm:pt>
    <dgm:pt modelId="{17F95ADE-5631-46E2-BFF1-371060555B64}" type="pres">
      <dgm:prSet presAssocID="{98F2F1A7-4A47-4E17-AB3A-363BE2C2C135}" presName="composite" presStyleCnt="0"/>
      <dgm:spPr/>
    </dgm:pt>
    <dgm:pt modelId="{A1C5A853-5050-41EA-ACF1-F275E495773E}" type="pres">
      <dgm:prSet presAssocID="{98F2F1A7-4A47-4E17-AB3A-363BE2C2C135}" presName="background" presStyleLbl="revTx" presStyleIdx="0" presStyleCnt="6"/>
      <dgm:spPr/>
    </dgm:pt>
    <dgm:pt modelId="{C6674ABF-D6CA-460F-9513-36418065EBD7}" type="pres">
      <dgm:prSet presAssocID="{98F2F1A7-4A47-4E17-AB3A-363BE2C2C135}" presName="txLvl1" presStyleLbl="alignNode1" presStyleIdx="0" presStyleCnt="6"/>
      <dgm:spPr/>
    </dgm:pt>
    <dgm:pt modelId="{9B7DC6E4-8254-45C3-B58B-7550C50C724F}" type="pres">
      <dgm:prSet presAssocID="{98F2F1A7-4A47-4E17-AB3A-363BE2C2C135}" presName="lin" presStyleCnt="0"/>
      <dgm:spPr/>
    </dgm:pt>
    <dgm:pt modelId="{4E02B19F-7D30-4141-BFC4-97404A2B6501}" type="pres">
      <dgm:prSet presAssocID="{64ED7F40-5AA2-456C-83D8-70D4068E4A66}" presName="innerLin" presStyleCnt="0"/>
      <dgm:spPr/>
    </dgm:pt>
    <dgm:pt modelId="{5C4FC227-0F1C-4CEF-8ABC-14547FF5B28E}" type="pres">
      <dgm:prSet presAssocID="{64ED7F40-5AA2-456C-83D8-70D4068E4A66}" presName="square" presStyleLbl="alignNode1" presStyleIdx="1" presStyleCnt="6"/>
      <dgm:spPr/>
    </dgm:pt>
    <dgm:pt modelId="{745F8DD8-E5E1-4A4E-9516-F2B9D7FCFD6F}" type="pres">
      <dgm:prSet presAssocID="{64ED7F40-5AA2-456C-83D8-70D4068E4A66}" presName="txLvl2" presStyleLbl="revTx" presStyleIdx="1" presStyleCnt="6"/>
      <dgm:spPr/>
    </dgm:pt>
    <dgm:pt modelId="{F6D1C2DE-608F-4540-93CF-00DF49EF9000}" type="pres">
      <dgm:prSet presAssocID="{FE33E613-6E3A-45C8-B821-C76A6881D16A}" presName="innerSpace" presStyleCnt="0"/>
      <dgm:spPr/>
    </dgm:pt>
    <dgm:pt modelId="{F026FD45-113A-48F1-9B17-33027E643750}" type="pres">
      <dgm:prSet presAssocID="{5ACF19B5-E364-4396-9C9F-0C6F6678B543}" presName="innerLin" presStyleCnt="0"/>
      <dgm:spPr/>
    </dgm:pt>
    <dgm:pt modelId="{45EACF86-C495-4806-A52E-36FEA7811285}" type="pres">
      <dgm:prSet presAssocID="{5ACF19B5-E364-4396-9C9F-0C6F6678B543}" presName="square" presStyleLbl="alignNode1" presStyleIdx="2" presStyleCnt="6"/>
      <dgm:spPr/>
    </dgm:pt>
    <dgm:pt modelId="{A94118BB-20C7-45DD-8142-C87ABB4823AA}" type="pres">
      <dgm:prSet presAssocID="{5ACF19B5-E364-4396-9C9F-0C6F6678B543}" presName="txLvl2" presStyleLbl="revTx" presStyleIdx="2" presStyleCnt="6"/>
      <dgm:spPr/>
    </dgm:pt>
    <dgm:pt modelId="{53F64890-D2B8-444E-A483-DADD463175CC}" type="pres">
      <dgm:prSet presAssocID="{A40B4662-56EA-4825-9EB3-7887EA865A14}" presName="space" presStyleCnt="0"/>
      <dgm:spPr/>
    </dgm:pt>
    <dgm:pt modelId="{C2864478-2CF3-4603-B8A5-CF48FD770C7D}" type="pres">
      <dgm:prSet presAssocID="{7401B0DE-61BF-4A88-BB5B-B392E0E49FB6}" presName="composite" presStyleCnt="0"/>
      <dgm:spPr/>
    </dgm:pt>
    <dgm:pt modelId="{D6810DCB-A642-4571-A83A-FAEF5C5E7078}" type="pres">
      <dgm:prSet presAssocID="{7401B0DE-61BF-4A88-BB5B-B392E0E49FB6}" presName="background" presStyleLbl="revTx" presStyleIdx="3" presStyleCnt="6"/>
      <dgm:spPr/>
    </dgm:pt>
    <dgm:pt modelId="{B1207ED9-5F09-4652-BFF5-169BE9A57372}" type="pres">
      <dgm:prSet presAssocID="{7401B0DE-61BF-4A88-BB5B-B392E0E49FB6}" presName="txLvl1" presStyleLbl="alignNode1" presStyleIdx="3" presStyleCnt="6"/>
      <dgm:spPr/>
    </dgm:pt>
    <dgm:pt modelId="{2268A8CE-8192-44A5-B183-A073ECAA38A5}" type="pres">
      <dgm:prSet presAssocID="{7401B0DE-61BF-4A88-BB5B-B392E0E49FB6}" presName="lin" presStyleCnt="0"/>
      <dgm:spPr/>
    </dgm:pt>
    <dgm:pt modelId="{78597477-A321-4F23-9485-6C0CAF4D9740}" type="pres">
      <dgm:prSet presAssocID="{0BFC7983-B561-4C4A-A69C-6D23B1A01810}" presName="space" presStyleCnt="0"/>
      <dgm:spPr/>
    </dgm:pt>
    <dgm:pt modelId="{3357DAA5-6FCE-4010-AFC4-061C9CFBA314}" type="pres">
      <dgm:prSet presAssocID="{88E841CF-01DA-439D-926E-9D9BE433561D}" presName="composite" presStyleCnt="0"/>
      <dgm:spPr/>
    </dgm:pt>
    <dgm:pt modelId="{9A81DEE1-2736-4E00-8FFE-BFDEECDA2D26}" type="pres">
      <dgm:prSet presAssocID="{88E841CF-01DA-439D-926E-9D9BE433561D}" presName="background" presStyleLbl="revTx" presStyleIdx="4" presStyleCnt="6"/>
      <dgm:spPr/>
    </dgm:pt>
    <dgm:pt modelId="{60A4F703-AE08-41B4-9E63-869505154997}" type="pres">
      <dgm:prSet presAssocID="{88E841CF-01DA-439D-926E-9D9BE433561D}" presName="txLvl1" presStyleLbl="alignNode1" presStyleIdx="4" presStyleCnt="6"/>
      <dgm:spPr/>
    </dgm:pt>
    <dgm:pt modelId="{FDA1E9B5-9107-46AF-B169-D98FC6BFF0D2}" type="pres">
      <dgm:prSet presAssocID="{88E841CF-01DA-439D-926E-9D9BE433561D}" presName="lin" presStyleCnt="0"/>
      <dgm:spPr/>
    </dgm:pt>
    <dgm:pt modelId="{E2892283-009F-4687-BBE6-F21B5163452B}" type="pres">
      <dgm:prSet presAssocID="{16933660-E66B-4B32-A2A6-B52B518548A6}" presName="space" presStyleCnt="0"/>
      <dgm:spPr/>
    </dgm:pt>
    <dgm:pt modelId="{D35B35A5-EE90-47D1-9465-B3E9086B356B}" type="pres">
      <dgm:prSet presAssocID="{03760581-3077-46CC-A047-044CCB08DE09}" presName="composite" presStyleCnt="0"/>
      <dgm:spPr/>
    </dgm:pt>
    <dgm:pt modelId="{2BD4F195-137F-42F9-A1DA-1CA82C3F158D}" type="pres">
      <dgm:prSet presAssocID="{03760581-3077-46CC-A047-044CCB08DE09}" presName="background" presStyleLbl="revTx" presStyleIdx="5" presStyleCnt="6"/>
      <dgm:spPr/>
    </dgm:pt>
    <dgm:pt modelId="{B9C87496-D0F6-4B09-BFF2-A2B327A006A8}" type="pres">
      <dgm:prSet presAssocID="{03760581-3077-46CC-A047-044CCB08DE09}" presName="txLvl1" presStyleLbl="alignNode1" presStyleIdx="5" presStyleCnt="6"/>
      <dgm:spPr/>
    </dgm:pt>
    <dgm:pt modelId="{9EA5AAF7-1B9C-47A7-B1F5-96160C009039}" type="pres">
      <dgm:prSet presAssocID="{03760581-3077-46CC-A047-044CCB08DE09}" presName="lin" presStyleCnt="0"/>
      <dgm:spPr/>
    </dgm:pt>
  </dgm:ptLst>
  <dgm:cxnLst>
    <dgm:cxn modelId="{EAEDC101-C8B8-462B-BFC4-5D1DCCB77779}" srcId="{25AF61FF-CD3F-4320-9644-1A666005F5D3}" destId="{03760581-3077-46CC-A047-044CCB08DE09}" srcOrd="3" destOrd="0" parTransId="{79C83EEF-06A9-4255-A205-C8C7C3327A8E}" sibTransId="{AF58A036-82F8-45CD-8F80-83AC587796CD}"/>
    <dgm:cxn modelId="{D608D618-152A-4960-B5E8-3992B82248A5}" type="presOf" srcId="{88E841CF-01DA-439D-926E-9D9BE433561D}" destId="{60A4F703-AE08-41B4-9E63-869505154997}" srcOrd="0" destOrd="0" presId="urn:madeinoffice.com/office/officeart/2005/8/layout/ProzessketteMitTextboxenUnterhalb"/>
    <dgm:cxn modelId="{2DB20E42-6981-4474-82C9-8D7EE771A346}" type="presOf" srcId="{98F2F1A7-4A47-4E17-AB3A-363BE2C2C135}" destId="{C6674ABF-D6CA-460F-9513-36418065EBD7}" srcOrd="0" destOrd="0" presId="urn:madeinoffice.com/office/officeart/2005/8/layout/ProzessketteMitTextboxenUnterhalb"/>
    <dgm:cxn modelId="{388CF970-3B92-4B2F-8AA0-619F35A5AA25}" type="presOf" srcId="{25AF61FF-CD3F-4320-9644-1A666005F5D3}" destId="{85983522-54B0-41CC-BE51-EE1131B3765A}" srcOrd="0" destOrd="0" presId="urn:madeinoffice.com/office/officeart/2005/8/layout/ProzessketteMitTextboxenUnterhalb"/>
    <dgm:cxn modelId="{DA452D8B-2839-4170-8445-96F896BA4F19}" type="presOf" srcId="{5ACF19B5-E364-4396-9C9F-0C6F6678B543}" destId="{A94118BB-20C7-45DD-8142-C87ABB4823AA}" srcOrd="0" destOrd="0" presId="urn:madeinoffice.com/office/officeart/2005/8/layout/ProzessketteMitTextboxenUnterhalb"/>
    <dgm:cxn modelId="{0D93F18E-4FB1-483B-9C2D-B81727BC5BC1}" type="presOf" srcId="{7401B0DE-61BF-4A88-BB5B-B392E0E49FB6}" destId="{B1207ED9-5F09-4652-BFF5-169BE9A57372}" srcOrd="0" destOrd="0" presId="urn:madeinoffice.com/office/officeart/2005/8/layout/ProzessketteMitTextboxenUnterhalb"/>
    <dgm:cxn modelId="{8BDC8791-C7DC-48EB-AE2B-C3D73347034E}" srcId="{98F2F1A7-4A47-4E17-AB3A-363BE2C2C135}" destId="{64ED7F40-5AA2-456C-83D8-70D4068E4A66}" srcOrd="0" destOrd="0" parTransId="{A11D4BC6-DCFC-42CE-8F2D-5D526E48A5CE}" sibTransId="{FE33E613-6E3A-45C8-B821-C76A6881D16A}"/>
    <dgm:cxn modelId="{22E1B4A4-995E-4E0F-811F-3D137C54DABA}" type="presOf" srcId="{64ED7F40-5AA2-456C-83D8-70D4068E4A66}" destId="{745F8DD8-E5E1-4A4E-9516-F2B9D7FCFD6F}" srcOrd="0" destOrd="0" presId="urn:madeinoffice.com/office/officeart/2005/8/layout/ProzessketteMitTextboxenUnterhalb"/>
    <dgm:cxn modelId="{AA03D7A4-8B06-446B-97D2-A5BEAA155443}" srcId="{25AF61FF-CD3F-4320-9644-1A666005F5D3}" destId="{7401B0DE-61BF-4A88-BB5B-B392E0E49FB6}" srcOrd="1" destOrd="0" parTransId="{F84B43F1-7255-4C67-9996-27C0C5A4B06D}" sibTransId="{0BFC7983-B561-4C4A-A69C-6D23B1A01810}"/>
    <dgm:cxn modelId="{F9C773B4-0458-4640-B278-85BBA57855FA}" srcId="{98F2F1A7-4A47-4E17-AB3A-363BE2C2C135}" destId="{5ACF19B5-E364-4396-9C9F-0C6F6678B543}" srcOrd="1" destOrd="0" parTransId="{5C011B18-62E2-41D3-9672-24E5251FE749}" sibTransId="{017DA7CA-48AC-4AE3-B206-FDD51FB11C4F}"/>
    <dgm:cxn modelId="{6285F0BC-D552-4056-AF2A-6CE18EAAA8E9}" srcId="{25AF61FF-CD3F-4320-9644-1A666005F5D3}" destId="{98F2F1A7-4A47-4E17-AB3A-363BE2C2C135}" srcOrd="0" destOrd="0" parTransId="{E8F90E9B-F257-4A21-B73C-4532CEC821F5}" sibTransId="{A40B4662-56EA-4825-9EB3-7887EA865A14}"/>
    <dgm:cxn modelId="{47ADCDCB-9469-437F-971D-9A7847876B77}" type="presOf" srcId="{03760581-3077-46CC-A047-044CCB08DE09}" destId="{B9C87496-D0F6-4B09-BFF2-A2B327A006A8}" srcOrd="0" destOrd="0" presId="urn:madeinoffice.com/office/officeart/2005/8/layout/ProzessketteMitTextboxenUnterhalb"/>
    <dgm:cxn modelId="{E4127CF1-9027-4FCD-9C8F-C2E029AFE82C}" srcId="{25AF61FF-CD3F-4320-9644-1A666005F5D3}" destId="{88E841CF-01DA-439D-926E-9D9BE433561D}" srcOrd="2" destOrd="0" parTransId="{644F8D59-76EC-4427-9905-9B671492A068}" sibTransId="{16933660-E66B-4B32-A2A6-B52B518548A6}"/>
    <dgm:cxn modelId="{09AD4F92-C66E-40CE-BBE5-CD54BEC5699A}" type="presParOf" srcId="{85983522-54B0-41CC-BE51-EE1131B3765A}" destId="{17F95ADE-5631-46E2-BFF1-371060555B64}" srcOrd="0" destOrd="0" presId="urn:madeinoffice.com/office/officeart/2005/8/layout/ProzessketteMitTextboxenUnterhalb"/>
    <dgm:cxn modelId="{D4553668-4769-44CF-A239-5F0C94EF40F4}" type="presParOf" srcId="{17F95ADE-5631-46E2-BFF1-371060555B64}" destId="{A1C5A853-5050-41EA-ACF1-F275E495773E}" srcOrd="0" destOrd="0" presId="urn:madeinoffice.com/office/officeart/2005/8/layout/ProzessketteMitTextboxenUnterhalb"/>
    <dgm:cxn modelId="{07C0ED78-44EE-4D9E-A311-8FBB0E88689A}" type="presParOf" srcId="{17F95ADE-5631-46E2-BFF1-371060555B64}" destId="{C6674ABF-D6CA-460F-9513-36418065EBD7}" srcOrd="1" destOrd="0" presId="urn:madeinoffice.com/office/officeart/2005/8/layout/ProzessketteMitTextboxenUnterhalb"/>
    <dgm:cxn modelId="{74539A51-4277-47D6-84D7-06E17D924895}" type="presParOf" srcId="{17F95ADE-5631-46E2-BFF1-371060555B64}" destId="{9B7DC6E4-8254-45C3-B58B-7550C50C724F}" srcOrd="2" destOrd="0" presId="urn:madeinoffice.com/office/officeart/2005/8/layout/ProzessketteMitTextboxenUnterhalb"/>
    <dgm:cxn modelId="{73DC9EB1-8FB5-42E9-8D93-4A6066BABDED}" type="presParOf" srcId="{9B7DC6E4-8254-45C3-B58B-7550C50C724F}" destId="{4E02B19F-7D30-4141-BFC4-97404A2B6501}" srcOrd="0" destOrd="0" presId="urn:madeinoffice.com/office/officeart/2005/8/layout/ProzessketteMitTextboxenUnterhalb"/>
    <dgm:cxn modelId="{E09CDCBF-E0D0-4841-B071-92D5A320886B}" type="presParOf" srcId="{4E02B19F-7D30-4141-BFC4-97404A2B6501}" destId="{5C4FC227-0F1C-4CEF-8ABC-14547FF5B28E}" srcOrd="0" destOrd="0" presId="urn:madeinoffice.com/office/officeart/2005/8/layout/ProzessketteMitTextboxenUnterhalb"/>
    <dgm:cxn modelId="{31AD2198-FDBC-48EE-81F6-0C95414C2C35}" type="presParOf" srcId="{4E02B19F-7D30-4141-BFC4-97404A2B6501}" destId="{745F8DD8-E5E1-4A4E-9516-F2B9D7FCFD6F}" srcOrd="1" destOrd="0" presId="urn:madeinoffice.com/office/officeart/2005/8/layout/ProzessketteMitTextboxenUnterhalb"/>
    <dgm:cxn modelId="{2A182FC7-FE81-4248-BE97-ACDFF8E58662}" type="presParOf" srcId="{9B7DC6E4-8254-45C3-B58B-7550C50C724F}" destId="{F6D1C2DE-608F-4540-93CF-00DF49EF9000}" srcOrd="1" destOrd="0" presId="urn:madeinoffice.com/office/officeart/2005/8/layout/ProzessketteMitTextboxenUnterhalb"/>
    <dgm:cxn modelId="{25F24E9F-3C32-4EC0-AAFC-EAB3A14AFC71}" type="presParOf" srcId="{9B7DC6E4-8254-45C3-B58B-7550C50C724F}" destId="{F026FD45-113A-48F1-9B17-33027E643750}" srcOrd="2" destOrd="0" presId="urn:madeinoffice.com/office/officeart/2005/8/layout/ProzessketteMitTextboxenUnterhalb"/>
    <dgm:cxn modelId="{7A820966-9269-49F9-840C-B6C118150BEC}" type="presParOf" srcId="{F026FD45-113A-48F1-9B17-33027E643750}" destId="{45EACF86-C495-4806-A52E-36FEA7811285}" srcOrd="0" destOrd="0" presId="urn:madeinoffice.com/office/officeart/2005/8/layout/ProzessketteMitTextboxenUnterhalb"/>
    <dgm:cxn modelId="{F0D2EB7C-9931-4987-84D5-598D8B018328}" type="presParOf" srcId="{F026FD45-113A-48F1-9B17-33027E643750}" destId="{A94118BB-20C7-45DD-8142-C87ABB4823AA}" srcOrd="1" destOrd="0" presId="urn:madeinoffice.com/office/officeart/2005/8/layout/ProzessketteMitTextboxenUnterhalb"/>
    <dgm:cxn modelId="{0A65E079-C4ED-4822-A587-8E5D603F625E}" type="presParOf" srcId="{85983522-54B0-41CC-BE51-EE1131B3765A}" destId="{53F64890-D2B8-444E-A483-DADD463175CC}" srcOrd="1" destOrd="0" presId="urn:madeinoffice.com/office/officeart/2005/8/layout/ProzessketteMitTextboxenUnterhalb"/>
    <dgm:cxn modelId="{AA4BB32C-AC71-4011-87BA-6CE8C4FE91D9}" type="presParOf" srcId="{85983522-54B0-41CC-BE51-EE1131B3765A}" destId="{C2864478-2CF3-4603-B8A5-CF48FD770C7D}" srcOrd="2" destOrd="0" presId="urn:madeinoffice.com/office/officeart/2005/8/layout/ProzessketteMitTextboxenUnterhalb"/>
    <dgm:cxn modelId="{759E6C0D-9DFF-4732-9494-DD0A65CCEC6D}" type="presParOf" srcId="{C2864478-2CF3-4603-B8A5-CF48FD770C7D}" destId="{D6810DCB-A642-4571-A83A-FAEF5C5E7078}" srcOrd="0" destOrd="0" presId="urn:madeinoffice.com/office/officeart/2005/8/layout/ProzessketteMitTextboxenUnterhalb"/>
    <dgm:cxn modelId="{D91C69A0-476D-43F6-9C82-05790A1519E2}" type="presParOf" srcId="{C2864478-2CF3-4603-B8A5-CF48FD770C7D}" destId="{B1207ED9-5F09-4652-BFF5-169BE9A57372}" srcOrd="1" destOrd="0" presId="urn:madeinoffice.com/office/officeart/2005/8/layout/ProzessketteMitTextboxenUnterhalb"/>
    <dgm:cxn modelId="{CCD2986E-BC41-4631-8152-16D7B0BDCF03}" type="presParOf" srcId="{C2864478-2CF3-4603-B8A5-CF48FD770C7D}" destId="{2268A8CE-8192-44A5-B183-A073ECAA38A5}" srcOrd="2" destOrd="0" presId="urn:madeinoffice.com/office/officeart/2005/8/layout/ProzessketteMitTextboxenUnterhalb"/>
    <dgm:cxn modelId="{21423924-B852-47C1-B1A3-2FB907F9D153}" type="presParOf" srcId="{85983522-54B0-41CC-BE51-EE1131B3765A}" destId="{78597477-A321-4F23-9485-6C0CAF4D9740}" srcOrd="3" destOrd="0" presId="urn:madeinoffice.com/office/officeart/2005/8/layout/ProzessketteMitTextboxenUnterhalb"/>
    <dgm:cxn modelId="{2CA5827D-6AF1-4F78-8A75-3FD7A714EB45}" type="presParOf" srcId="{85983522-54B0-41CC-BE51-EE1131B3765A}" destId="{3357DAA5-6FCE-4010-AFC4-061C9CFBA314}" srcOrd="4" destOrd="0" presId="urn:madeinoffice.com/office/officeart/2005/8/layout/ProzessketteMitTextboxenUnterhalb"/>
    <dgm:cxn modelId="{C611C9A8-8DE2-477D-8E02-AA4EE0C733EC}" type="presParOf" srcId="{3357DAA5-6FCE-4010-AFC4-061C9CFBA314}" destId="{9A81DEE1-2736-4E00-8FFE-BFDEECDA2D26}" srcOrd="0" destOrd="0" presId="urn:madeinoffice.com/office/officeart/2005/8/layout/ProzessketteMitTextboxenUnterhalb"/>
    <dgm:cxn modelId="{F20F74CB-4C76-49B4-BB95-1FB49E25B80E}" type="presParOf" srcId="{3357DAA5-6FCE-4010-AFC4-061C9CFBA314}" destId="{60A4F703-AE08-41B4-9E63-869505154997}" srcOrd="1" destOrd="0" presId="urn:madeinoffice.com/office/officeart/2005/8/layout/ProzessketteMitTextboxenUnterhalb"/>
    <dgm:cxn modelId="{5727D5BD-A0FE-453E-930F-D96B69DAFCBE}" type="presParOf" srcId="{3357DAA5-6FCE-4010-AFC4-061C9CFBA314}" destId="{FDA1E9B5-9107-46AF-B169-D98FC6BFF0D2}" srcOrd="2" destOrd="0" presId="urn:madeinoffice.com/office/officeart/2005/8/layout/ProzessketteMitTextboxenUnterhalb"/>
    <dgm:cxn modelId="{9077E819-D1D4-475C-985F-D1D1545A2782}" type="presParOf" srcId="{85983522-54B0-41CC-BE51-EE1131B3765A}" destId="{E2892283-009F-4687-BBE6-F21B5163452B}" srcOrd="5" destOrd="0" presId="urn:madeinoffice.com/office/officeart/2005/8/layout/ProzessketteMitTextboxenUnterhalb"/>
    <dgm:cxn modelId="{AE0D64A4-6E32-4471-99BD-5FA20ED031CA}" type="presParOf" srcId="{85983522-54B0-41CC-BE51-EE1131B3765A}" destId="{D35B35A5-EE90-47D1-9465-B3E9086B356B}" srcOrd="6" destOrd="0" presId="urn:madeinoffice.com/office/officeart/2005/8/layout/ProzessketteMitTextboxenUnterhalb"/>
    <dgm:cxn modelId="{F099CECA-BDF6-45F0-BD23-4F662C0ACF63}" type="presParOf" srcId="{D35B35A5-EE90-47D1-9465-B3E9086B356B}" destId="{2BD4F195-137F-42F9-A1DA-1CA82C3F158D}" srcOrd="0" destOrd="0" presId="urn:madeinoffice.com/office/officeart/2005/8/layout/ProzessketteMitTextboxenUnterhalb"/>
    <dgm:cxn modelId="{A04EB328-9B95-4B6D-9577-D9308A222909}" type="presParOf" srcId="{D35B35A5-EE90-47D1-9465-B3E9086B356B}" destId="{B9C87496-D0F6-4B09-BFF2-A2B327A006A8}" srcOrd="1" destOrd="0" presId="urn:madeinoffice.com/office/officeart/2005/8/layout/ProzessketteMitTextboxenUnterhalb"/>
    <dgm:cxn modelId="{BEC8365B-91A6-4708-8B75-CE6853DF63A2}" type="presParOf" srcId="{D35B35A5-EE90-47D1-9465-B3E9086B356B}" destId="{9EA5AAF7-1B9C-47A7-B1F5-96160C009039}" srcOrd="2" destOrd="0" presId="urn:madeinoffice.com/office/officeart/2005/8/layout/ProzessketteMitTextboxenUnterhalb"/>
  </dgm:cxnLst>
  <dgm:bg/>
  <dgm:whole/>
  <dgm:extLst>
    <a:ext uri="http://schemas.microsoft.com/office/drawing/2008/diagram">
      <dsp:dataModelExt xmlns:dsp="http://schemas.microsoft.com/office/drawing/2008/diagram" relId="rId15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5AF61FF-CD3F-4320-9644-1A666005F5D3}" type="doc">
      <dgm:prSet loTypeId="urn:madeinoffice.com/office/officeart/2005/8/layout/ProzessketteMitTextboxenUnterhalb" loCatId="other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98F2F1A7-4A47-4E17-AB3A-363BE2C2C135}">
      <dgm:prSet phldrT="[Text]" custT="1"/>
      <dgm:spPr/>
      <dgm:t>
        <a:bodyPr/>
        <a:lstStyle/>
        <a:p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Phase de préparation</a:t>
          </a:r>
        </a:p>
      </dgm:t>
    </dgm:pt>
    <dgm:pt modelId="{E8F90E9B-F257-4A21-B73C-4532CEC821F5}" type="parTrans" cxnId="{6285F0BC-D552-4056-AF2A-6CE18EAAA8E9}">
      <dgm:prSet/>
      <dgm:spPr/>
      <dgm:t>
        <a:bodyPr/>
        <a:lstStyle/>
        <a:p>
          <a:endParaRPr lang="en-US" sz="1400" b="1">
            <a:solidFill>
              <a:schemeClr val="bg1"/>
            </a:solidFill>
            <a:latin typeface="Reem Kufi Regular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A40B4662-56EA-4825-9EB3-7887EA865A14}" type="sibTrans" cxnId="{6285F0BC-D552-4056-AF2A-6CE18EAAA8E9}">
      <dgm:prSet/>
      <dgm:spPr/>
      <dgm:t>
        <a:bodyPr/>
        <a:lstStyle/>
        <a:p>
          <a:endParaRPr lang="en-US" sz="1400" b="1">
            <a:solidFill>
              <a:schemeClr val="bg1"/>
            </a:solidFill>
            <a:latin typeface="Reem Kufi Regular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64ED7F40-5AA2-456C-83D8-70D4068E4A66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Auto-formation aux principes du machine-learning</a:t>
          </a:r>
        </a:p>
      </dgm:t>
    </dgm:pt>
    <dgm:pt modelId="{A11D4BC6-DCFC-42CE-8F2D-5D526E48A5CE}" type="parTrans" cxnId="{8BDC8791-C7DC-48EB-AE2B-C3D73347034E}">
      <dgm:prSet/>
      <dgm:spPr/>
      <dgm:t>
        <a:bodyPr/>
        <a:lstStyle/>
        <a:p>
          <a:endParaRPr lang="fr-FR"/>
        </a:p>
      </dgm:t>
    </dgm:pt>
    <dgm:pt modelId="{FE33E613-6E3A-45C8-B821-C76A6881D16A}" type="sibTrans" cxnId="{8BDC8791-C7DC-48EB-AE2B-C3D73347034E}">
      <dgm:prSet/>
      <dgm:spPr/>
      <dgm:t>
        <a:bodyPr/>
        <a:lstStyle/>
        <a:p>
          <a:endParaRPr lang="fr-FR"/>
        </a:p>
      </dgm:t>
    </dgm:pt>
    <dgm:pt modelId="{03760581-3077-46CC-A047-044CCB08DE09}">
      <dgm:prSet phldrT="[Text]" custT="1"/>
      <dgm:spPr/>
      <dgm:t>
        <a:bodyPr/>
        <a:lstStyle/>
        <a:p>
          <a:pPr algn="ctr"/>
          <a:endParaRPr lang="de-DE" sz="1600" b="1" dirty="0">
            <a:solidFill>
              <a:schemeClr val="bg1"/>
            </a:solidFill>
            <a:latin typeface="Reem Kufi Regular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79C83EEF-06A9-4255-A205-C8C7C3327A8E}" type="parTrans" cxnId="{EAEDC101-C8B8-462B-BFC4-5D1DCCB77779}">
      <dgm:prSet/>
      <dgm:spPr/>
      <dgm:t>
        <a:bodyPr/>
        <a:lstStyle/>
        <a:p>
          <a:endParaRPr lang="fr-FR"/>
        </a:p>
      </dgm:t>
    </dgm:pt>
    <dgm:pt modelId="{AF58A036-82F8-45CD-8F80-83AC587796CD}" type="sibTrans" cxnId="{EAEDC101-C8B8-462B-BFC4-5D1DCCB77779}">
      <dgm:prSet/>
      <dgm:spPr/>
      <dgm:t>
        <a:bodyPr/>
        <a:lstStyle/>
        <a:p>
          <a:endParaRPr lang="fr-FR"/>
        </a:p>
      </dgm:t>
    </dgm:pt>
    <dgm:pt modelId="{7401B0DE-61BF-4A88-BB5B-B392E0E49FB6}">
      <dgm:prSet phldrT="[Text]" custT="1"/>
      <dgm:spPr/>
      <dgm:t>
        <a:bodyPr/>
        <a:lstStyle/>
        <a:p>
          <a:pPr algn="ctr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Choix des applications</a:t>
          </a:r>
        </a:p>
      </dgm:t>
    </dgm:pt>
    <dgm:pt modelId="{F84B43F1-7255-4C67-9996-27C0C5A4B06D}" type="parTrans" cxnId="{AA03D7A4-8B06-446B-97D2-A5BEAA155443}">
      <dgm:prSet/>
      <dgm:spPr/>
      <dgm:t>
        <a:bodyPr/>
        <a:lstStyle/>
        <a:p>
          <a:endParaRPr lang="fr-FR"/>
        </a:p>
      </dgm:t>
    </dgm:pt>
    <dgm:pt modelId="{0BFC7983-B561-4C4A-A69C-6D23B1A01810}" type="sibTrans" cxnId="{AA03D7A4-8B06-446B-97D2-A5BEAA155443}">
      <dgm:prSet/>
      <dgm:spPr/>
      <dgm:t>
        <a:bodyPr/>
        <a:lstStyle/>
        <a:p>
          <a:endParaRPr lang="fr-FR"/>
        </a:p>
      </dgm:t>
    </dgm:pt>
    <dgm:pt modelId="{5ACF19B5-E364-4396-9C9F-0C6F6678B543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s techniques de compréhension de texte </a:t>
          </a:r>
        </a:p>
      </dgm:t>
    </dgm:pt>
    <dgm:pt modelId="{5C011B18-62E2-41D3-9672-24E5251FE749}" type="parTrans" cxnId="{F9C773B4-0458-4640-B278-85BBA57855FA}">
      <dgm:prSet/>
      <dgm:spPr/>
      <dgm:t>
        <a:bodyPr/>
        <a:lstStyle/>
        <a:p>
          <a:endParaRPr lang="fr-FR"/>
        </a:p>
      </dgm:t>
    </dgm:pt>
    <dgm:pt modelId="{017DA7CA-48AC-4AE3-B206-FDD51FB11C4F}" type="sibTrans" cxnId="{F9C773B4-0458-4640-B278-85BBA57855FA}">
      <dgm:prSet/>
      <dgm:spPr/>
      <dgm:t>
        <a:bodyPr/>
        <a:lstStyle/>
        <a:p>
          <a:endParaRPr lang="fr-FR"/>
        </a:p>
      </dgm:t>
    </dgm:pt>
    <dgm:pt modelId="{88E841CF-01DA-439D-926E-9D9BE433561D}">
      <dgm:prSet phldrT="[Text]" custT="1"/>
      <dgm:spPr/>
      <dgm:t>
        <a:bodyPr/>
        <a:lstStyle/>
        <a:p>
          <a:pPr algn="l"/>
          <a:endParaRPr lang="de-DE" sz="1600" b="1" dirty="0">
            <a:solidFill>
              <a:schemeClr val="bg1"/>
            </a:solidFill>
            <a:latin typeface="Reem Kufi Regular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644F8D59-76EC-4427-9905-9B671492A068}" type="parTrans" cxnId="{E4127CF1-9027-4FCD-9C8F-C2E029AFE82C}">
      <dgm:prSet/>
      <dgm:spPr/>
      <dgm:t>
        <a:bodyPr/>
        <a:lstStyle/>
        <a:p>
          <a:endParaRPr lang="fr-FR"/>
        </a:p>
      </dgm:t>
    </dgm:pt>
    <dgm:pt modelId="{16933660-E66B-4B32-A2A6-B52B518548A6}" type="sibTrans" cxnId="{E4127CF1-9027-4FCD-9C8F-C2E029AFE82C}">
      <dgm:prSet/>
      <dgm:spPr/>
      <dgm:t>
        <a:bodyPr/>
        <a:lstStyle/>
        <a:p>
          <a:endParaRPr lang="fr-FR"/>
        </a:p>
      </dgm:t>
    </dgm:pt>
    <dgm:pt modelId="{589A1FC3-BFD8-4A0E-ADAF-6FE60C73F018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u moteur de recherche</a:t>
          </a:r>
        </a:p>
      </dgm:t>
    </dgm:pt>
    <dgm:pt modelId="{3A39BAAF-F505-4013-A509-C21F50B4A0F8}" type="parTrans" cxnId="{1F393738-3E8F-42E0-A8F5-24F4E132D2FA}">
      <dgm:prSet/>
      <dgm:spPr/>
      <dgm:t>
        <a:bodyPr/>
        <a:lstStyle/>
        <a:p>
          <a:endParaRPr lang="fr-FR"/>
        </a:p>
      </dgm:t>
    </dgm:pt>
    <dgm:pt modelId="{95972418-F57C-4C27-8440-DB266D1228D0}" type="sibTrans" cxnId="{1F393738-3E8F-42E0-A8F5-24F4E132D2FA}">
      <dgm:prSet/>
      <dgm:spPr/>
      <dgm:t>
        <a:bodyPr/>
        <a:lstStyle/>
        <a:p>
          <a:endParaRPr lang="fr-FR"/>
        </a:p>
      </dgm:t>
    </dgm:pt>
    <dgm:pt modelId="{A3B944DE-23A4-44C1-980E-09A42B5B8860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 catégorisation de texte</a:t>
          </a:r>
        </a:p>
      </dgm:t>
    </dgm:pt>
    <dgm:pt modelId="{40AC23C9-6406-4482-9607-6FC9B5AC5450}" type="parTrans" cxnId="{9B7681B1-DB26-4516-B890-902C51C2897C}">
      <dgm:prSet/>
      <dgm:spPr/>
      <dgm:t>
        <a:bodyPr/>
        <a:lstStyle/>
        <a:p>
          <a:endParaRPr lang="fr-FR"/>
        </a:p>
      </dgm:t>
    </dgm:pt>
    <dgm:pt modelId="{969110F3-28A2-4DEC-BE88-F2940F15FD37}" type="sibTrans" cxnId="{9B7681B1-DB26-4516-B890-902C51C2897C}">
      <dgm:prSet/>
      <dgm:spPr/>
      <dgm:t>
        <a:bodyPr/>
        <a:lstStyle/>
        <a:p>
          <a:endParaRPr lang="fr-FR"/>
        </a:p>
      </dgm:t>
    </dgm:pt>
    <dgm:pt modelId="{1D88034A-4C78-4928-BB91-7A38A6AD0A74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 la détection de spam</a:t>
          </a:r>
        </a:p>
      </dgm:t>
    </dgm:pt>
    <dgm:pt modelId="{B5D6E227-EE29-4E11-B28C-C915C9D2940D}" type="parTrans" cxnId="{4947AB2B-E090-4A5C-972E-AEA89CC334A5}">
      <dgm:prSet/>
      <dgm:spPr/>
      <dgm:t>
        <a:bodyPr/>
        <a:lstStyle/>
        <a:p>
          <a:endParaRPr lang="fr-FR"/>
        </a:p>
      </dgm:t>
    </dgm:pt>
    <dgm:pt modelId="{A517A3F1-ED74-4FFA-9E10-2F34AF43F1EC}" type="sibTrans" cxnId="{4947AB2B-E090-4A5C-972E-AEA89CC334A5}">
      <dgm:prSet/>
      <dgm:spPr/>
      <dgm:t>
        <a:bodyPr/>
        <a:lstStyle/>
        <a:p>
          <a:endParaRPr lang="fr-FR"/>
        </a:p>
      </dgm:t>
    </dgm:pt>
    <dgm:pt modelId="{D6ED2971-6D42-4425-85A1-614D22BAB2E5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 l‘analyse de sentiment</a:t>
          </a:r>
        </a:p>
      </dgm:t>
    </dgm:pt>
    <dgm:pt modelId="{765AD8F4-E71A-4D90-B9D8-B3043D7C6BD7}" type="parTrans" cxnId="{5A453026-6629-4DE7-8BC5-E7B7D98E0B8D}">
      <dgm:prSet/>
      <dgm:spPr/>
      <dgm:t>
        <a:bodyPr/>
        <a:lstStyle/>
        <a:p>
          <a:endParaRPr lang="fr-FR"/>
        </a:p>
      </dgm:t>
    </dgm:pt>
    <dgm:pt modelId="{C3E44D1A-EC69-4F4C-B513-DF8A7BD3E8F3}" type="sibTrans" cxnId="{5A453026-6629-4DE7-8BC5-E7B7D98E0B8D}">
      <dgm:prSet/>
      <dgm:spPr/>
      <dgm:t>
        <a:bodyPr/>
        <a:lstStyle/>
        <a:p>
          <a:endParaRPr lang="fr-FR"/>
        </a:p>
      </dgm:t>
    </dgm:pt>
    <dgm:pt modelId="{85983522-54B0-41CC-BE51-EE1131B3765A}" type="pres">
      <dgm:prSet presAssocID="{25AF61FF-CD3F-4320-9644-1A666005F5D3}" presName="Name0" presStyleCnt="0">
        <dgm:presLayoutVars>
          <dgm:dir/>
        </dgm:presLayoutVars>
      </dgm:prSet>
      <dgm:spPr/>
    </dgm:pt>
    <dgm:pt modelId="{17F95ADE-5631-46E2-BFF1-371060555B64}" type="pres">
      <dgm:prSet presAssocID="{98F2F1A7-4A47-4E17-AB3A-363BE2C2C135}" presName="composite" presStyleCnt="0"/>
      <dgm:spPr/>
    </dgm:pt>
    <dgm:pt modelId="{A1C5A853-5050-41EA-ACF1-F275E495773E}" type="pres">
      <dgm:prSet presAssocID="{98F2F1A7-4A47-4E17-AB3A-363BE2C2C135}" presName="background" presStyleLbl="revTx" presStyleIdx="0" presStyleCnt="10"/>
      <dgm:spPr/>
    </dgm:pt>
    <dgm:pt modelId="{C6674ABF-D6CA-460F-9513-36418065EBD7}" type="pres">
      <dgm:prSet presAssocID="{98F2F1A7-4A47-4E17-AB3A-363BE2C2C135}" presName="txLvl1" presStyleLbl="alignNode1" presStyleIdx="0" presStyleCnt="10"/>
      <dgm:spPr/>
    </dgm:pt>
    <dgm:pt modelId="{9B7DC6E4-8254-45C3-B58B-7550C50C724F}" type="pres">
      <dgm:prSet presAssocID="{98F2F1A7-4A47-4E17-AB3A-363BE2C2C135}" presName="lin" presStyleCnt="0"/>
      <dgm:spPr/>
    </dgm:pt>
    <dgm:pt modelId="{4E02B19F-7D30-4141-BFC4-97404A2B6501}" type="pres">
      <dgm:prSet presAssocID="{64ED7F40-5AA2-456C-83D8-70D4068E4A66}" presName="innerLin" presStyleCnt="0"/>
      <dgm:spPr/>
    </dgm:pt>
    <dgm:pt modelId="{5C4FC227-0F1C-4CEF-8ABC-14547FF5B28E}" type="pres">
      <dgm:prSet presAssocID="{64ED7F40-5AA2-456C-83D8-70D4068E4A66}" presName="square" presStyleLbl="alignNode1" presStyleIdx="1" presStyleCnt="10"/>
      <dgm:spPr/>
    </dgm:pt>
    <dgm:pt modelId="{745F8DD8-E5E1-4A4E-9516-F2B9D7FCFD6F}" type="pres">
      <dgm:prSet presAssocID="{64ED7F40-5AA2-456C-83D8-70D4068E4A66}" presName="txLvl2" presStyleLbl="revTx" presStyleIdx="1" presStyleCnt="10"/>
      <dgm:spPr/>
    </dgm:pt>
    <dgm:pt modelId="{F6D1C2DE-608F-4540-93CF-00DF49EF9000}" type="pres">
      <dgm:prSet presAssocID="{FE33E613-6E3A-45C8-B821-C76A6881D16A}" presName="innerSpace" presStyleCnt="0"/>
      <dgm:spPr/>
    </dgm:pt>
    <dgm:pt modelId="{F026FD45-113A-48F1-9B17-33027E643750}" type="pres">
      <dgm:prSet presAssocID="{5ACF19B5-E364-4396-9C9F-0C6F6678B543}" presName="innerLin" presStyleCnt="0"/>
      <dgm:spPr/>
    </dgm:pt>
    <dgm:pt modelId="{45EACF86-C495-4806-A52E-36FEA7811285}" type="pres">
      <dgm:prSet presAssocID="{5ACF19B5-E364-4396-9C9F-0C6F6678B543}" presName="square" presStyleLbl="alignNode1" presStyleIdx="2" presStyleCnt="10"/>
      <dgm:spPr/>
    </dgm:pt>
    <dgm:pt modelId="{A94118BB-20C7-45DD-8142-C87ABB4823AA}" type="pres">
      <dgm:prSet presAssocID="{5ACF19B5-E364-4396-9C9F-0C6F6678B543}" presName="txLvl2" presStyleLbl="revTx" presStyleIdx="2" presStyleCnt="10"/>
      <dgm:spPr/>
    </dgm:pt>
    <dgm:pt modelId="{53F64890-D2B8-444E-A483-DADD463175CC}" type="pres">
      <dgm:prSet presAssocID="{A40B4662-56EA-4825-9EB3-7887EA865A14}" presName="space" presStyleCnt="0"/>
      <dgm:spPr/>
    </dgm:pt>
    <dgm:pt modelId="{C2864478-2CF3-4603-B8A5-CF48FD770C7D}" type="pres">
      <dgm:prSet presAssocID="{7401B0DE-61BF-4A88-BB5B-B392E0E49FB6}" presName="composite" presStyleCnt="0"/>
      <dgm:spPr/>
    </dgm:pt>
    <dgm:pt modelId="{D6810DCB-A642-4571-A83A-FAEF5C5E7078}" type="pres">
      <dgm:prSet presAssocID="{7401B0DE-61BF-4A88-BB5B-B392E0E49FB6}" presName="background" presStyleLbl="revTx" presStyleIdx="3" presStyleCnt="10"/>
      <dgm:spPr/>
    </dgm:pt>
    <dgm:pt modelId="{B1207ED9-5F09-4652-BFF5-169BE9A57372}" type="pres">
      <dgm:prSet presAssocID="{7401B0DE-61BF-4A88-BB5B-B392E0E49FB6}" presName="txLvl1" presStyleLbl="alignNode1" presStyleIdx="3" presStyleCnt="10"/>
      <dgm:spPr/>
    </dgm:pt>
    <dgm:pt modelId="{2268A8CE-8192-44A5-B183-A073ECAA38A5}" type="pres">
      <dgm:prSet presAssocID="{7401B0DE-61BF-4A88-BB5B-B392E0E49FB6}" presName="lin" presStyleCnt="0"/>
      <dgm:spPr/>
    </dgm:pt>
    <dgm:pt modelId="{6A762ED2-F01B-4FF7-BC03-BD36CE1C5C63}" type="pres">
      <dgm:prSet presAssocID="{589A1FC3-BFD8-4A0E-ADAF-6FE60C73F018}" presName="innerLin" presStyleCnt="0"/>
      <dgm:spPr/>
    </dgm:pt>
    <dgm:pt modelId="{71E3D0DB-5CEC-400D-BB3C-BA4453200D87}" type="pres">
      <dgm:prSet presAssocID="{589A1FC3-BFD8-4A0E-ADAF-6FE60C73F018}" presName="square" presStyleLbl="alignNode1" presStyleIdx="4" presStyleCnt="10"/>
      <dgm:spPr/>
    </dgm:pt>
    <dgm:pt modelId="{03BCE79E-19A3-4D8C-960B-CA7DB00C5AE4}" type="pres">
      <dgm:prSet presAssocID="{589A1FC3-BFD8-4A0E-ADAF-6FE60C73F018}" presName="txLvl2" presStyleLbl="revTx" presStyleIdx="4" presStyleCnt="10"/>
      <dgm:spPr/>
    </dgm:pt>
    <dgm:pt modelId="{379734FE-23D7-4F06-B1FF-812EE57861F0}" type="pres">
      <dgm:prSet presAssocID="{95972418-F57C-4C27-8440-DB266D1228D0}" presName="innerSpace" presStyleCnt="0"/>
      <dgm:spPr/>
    </dgm:pt>
    <dgm:pt modelId="{9A39F83B-1622-4942-93A1-1C7D030CF987}" type="pres">
      <dgm:prSet presAssocID="{A3B944DE-23A4-44C1-980E-09A42B5B8860}" presName="innerLin" presStyleCnt="0"/>
      <dgm:spPr/>
    </dgm:pt>
    <dgm:pt modelId="{8A0A0400-8AE2-47BE-8145-41AE60A88AE4}" type="pres">
      <dgm:prSet presAssocID="{A3B944DE-23A4-44C1-980E-09A42B5B8860}" presName="square" presStyleLbl="alignNode1" presStyleIdx="5" presStyleCnt="10"/>
      <dgm:spPr/>
    </dgm:pt>
    <dgm:pt modelId="{F1069177-A7AD-4B96-9C82-933B0EFEC5B1}" type="pres">
      <dgm:prSet presAssocID="{A3B944DE-23A4-44C1-980E-09A42B5B8860}" presName="txLvl2" presStyleLbl="revTx" presStyleIdx="5" presStyleCnt="10"/>
      <dgm:spPr/>
    </dgm:pt>
    <dgm:pt modelId="{EFF4897E-1846-46AC-B4E9-2E3ACF702459}" type="pres">
      <dgm:prSet presAssocID="{969110F3-28A2-4DEC-BE88-F2940F15FD37}" presName="innerSpace" presStyleCnt="0"/>
      <dgm:spPr/>
    </dgm:pt>
    <dgm:pt modelId="{CB8038BD-180F-4CF2-A930-8D9A53F636BA}" type="pres">
      <dgm:prSet presAssocID="{1D88034A-4C78-4928-BB91-7A38A6AD0A74}" presName="innerLin" presStyleCnt="0"/>
      <dgm:spPr/>
    </dgm:pt>
    <dgm:pt modelId="{CF05CDD1-A50E-491D-AE92-D50189BE6975}" type="pres">
      <dgm:prSet presAssocID="{1D88034A-4C78-4928-BB91-7A38A6AD0A74}" presName="square" presStyleLbl="alignNode1" presStyleIdx="6" presStyleCnt="10"/>
      <dgm:spPr/>
    </dgm:pt>
    <dgm:pt modelId="{D7ACFF19-40E9-428A-B4C4-0B4D2E78B3A5}" type="pres">
      <dgm:prSet presAssocID="{1D88034A-4C78-4928-BB91-7A38A6AD0A74}" presName="txLvl2" presStyleLbl="revTx" presStyleIdx="6" presStyleCnt="10"/>
      <dgm:spPr/>
    </dgm:pt>
    <dgm:pt modelId="{3B15203B-49FD-428E-8079-A214BC045333}" type="pres">
      <dgm:prSet presAssocID="{A517A3F1-ED74-4FFA-9E10-2F34AF43F1EC}" presName="innerSpace" presStyleCnt="0"/>
      <dgm:spPr/>
    </dgm:pt>
    <dgm:pt modelId="{D4E1FF25-6650-4C30-8700-AAD79145299F}" type="pres">
      <dgm:prSet presAssocID="{D6ED2971-6D42-4425-85A1-614D22BAB2E5}" presName="innerLin" presStyleCnt="0"/>
      <dgm:spPr/>
    </dgm:pt>
    <dgm:pt modelId="{BB4EF2ED-4BB7-4450-81F5-DDC2A2CE8B08}" type="pres">
      <dgm:prSet presAssocID="{D6ED2971-6D42-4425-85A1-614D22BAB2E5}" presName="square" presStyleLbl="alignNode1" presStyleIdx="7" presStyleCnt="10"/>
      <dgm:spPr/>
    </dgm:pt>
    <dgm:pt modelId="{6D8D533F-6F7A-4D67-ACA6-D2CF39DF6834}" type="pres">
      <dgm:prSet presAssocID="{D6ED2971-6D42-4425-85A1-614D22BAB2E5}" presName="txLvl2" presStyleLbl="revTx" presStyleIdx="7" presStyleCnt="10"/>
      <dgm:spPr/>
    </dgm:pt>
    <dgm:pt modelId="{78597477-A321-4F23-9485-6C0CAF4D9740}" type="pres">
      <dgm:prSet presAssocID="{0BFC7983-B561-4C4A-A69C-6D23B1A01810}" presName="space" presStyleCnt="0"/>
      <dgm:spPr/>
    </dgm:pt>
    <dgm:pt modelId="{3357DAA5-6FCE-4010-AFC4-061C9CFBA314}" type="pres">
      <dgm:prSet presAssocID="{88E841CF-01DA-439D-926E-9D9BE433561D}" presName="composite" presStyleCnt="0"/>
      <dgm:spPr/>
    </dgm:pt>
    <dgm:pt modelId="{9A81DEE1-2736-4E00-8FFE-BFDEECDA2D26}" type="pres">
      <dgm:prSet presAssocID="{88E841CF-01DA-439D-926E-9D9BE433561D}" presName="background" presStyleLbl="revTx" presStyleIdx="8" presStyleCnt="10"/>
      <dgm:spPr/>
    </dgm:pt>
    <dgm:pt modelId="{60A4F703-AE08-41B4-9E63-869505154997}" type="pres">
      <dgm:prSet presAssocID="{88E841CF-01DA-439D-926E-9D9BE433561D}" presName="txLvl1" presStyleLbl="alignNode1" presStyleIdx="8" presStyleCnt="10"/>
      <dgm:spPr/>
    </dgm:pt>
    <dgm:pt modelId="{FDA1E9B5-9107-46AF-B169-D98FC6BFF0D2}" type="pres">
      <dgm:prSet presAssocID="{88E841CF-01DA-439D-926E-9D9BE433561D}" presName="lin" presStyleCnt="0"/>
      <dgm:spPr/>
    </dgm:pt>
    <dgm:pt modelId="{E2892283-009F-4687-BBE6-F21B5163452B}" type="pres">
      <dgm:prSet presAssocID="{16933660-E66B-4B32-A2A6-B52B518548A6}" presName="space" presStyleCnt="0"/>
      <dgm:spPr/>
    </dgm:pt>
    <dgm:pt modelId="{D35B35A5-EE90-47D1-9465-B3E9086B356B}" type="pres">
      <dgm:prSet presAssocID="{03760581-3077-46CC-A047-044CCB08DE09}" presName="composite" presStyleCnt="0"/>
      <dgm:spPr/>
    </dgm:pt>
    <dgm:pt modelId="{2BD4F195-137F-42F9-A1DA-1CA82C3F158D}" type="pres">
      <dgm:prSet presAssocID="{03760581-3077-46CC-A047-044CCB08DE09}" presName="background" presStyleLbl="revTx" presStyleIdx="9" presStyleCnt="10"/>
      <dgm:spPr/>
    </dgm:pt>
    <dgm:pt modelId="{B9C87496-D0F6-4B09-BFF2-A2B327A006A8}" type="pres">
      <dgm:prSet presAssocID="{03760581-3077-46CC-A047-044CCB08DE09}" presName="txLvl1" presStyleLbl="alignNode1" presStyleIdx="9" presStyleCnt="10"/>
      <dgm:spPr/>
    </dgm:pt>
    <dgm:pt modelId="{9EA5AAF7-1B9C-47A7-B1F5-96160C009039}" type="pres">
      <dgm:prSet presAssocID="{03760581-3077-46CC-A047-044CCB08DE09}" presName="lin" presStyleCnt="0"/>
      <dgm:spPr/>
    </dgm:pt>
  </dgm:ptLst>
  <dgm:cxnLst>
    <dgm:cxn modelId="{EAEDC101-C8B8-462B-BFC4-5D1DCCB77779}" srcId="{25AF61FF-CD3F-4320-9644-1A666005F5D3}" destId="{03760581-3077-46CC-A047-044CCB08DE09}" srcOrd="3" destOrd="0" parTransId="{79C83EEF-06A9-4255-A205-C8C7C3327A8E}" sibTransId="{AF58A036-82F8-45CD-8F80-83AC587796CD}"/>
    <dgm:cxn modelId="{D608D618-152A-4960-B5E8-3992B82248A5}" type="presOf" srcId="{88E841CF-01DA-439D-926E-9D9BE433561D}" destId="{60A4F703-AE08-41B4-9E63-869505154997}" srcOrd="0" destOrd="0" presId="urn:madeinoffice.com/office/officeart/2005/8/layout/ProzessketteMitTextboxenUnterhalb"/>
    <dgm:cxn modelId="{ACCADA19-51C7-44D2-B483-A162AEB72186}" type="presOf" srcId="{A3B944DE-23A4-44C1-980E-09A42B5B8860}" destId="{F1069177-A7AD-4B96-9C82-933B0EFEC5B1}" srcOrd="0" destOrd="0" presId="urn:madeinoffice.com/office/officeart/2005/8/layout/ProzessketteMitTextboxenUnterhalb"/>
    <dgm:cxn modelId="{5A453026-6629-4DE7-8BC5-E7B7D98E0B8D}" srcId="{7401B0DE-61BF-4A88-BB5B-B392E0E49FB6}" destId="{D6ED2971-6D42-4425-85A1-614D22BAB2E5}" srcOrd="3" destOrd="0" parTransId="{765AD8F4-E71A-4D90-B9D8-B3043D7C6BD7}" sibTransId="{C3E44D1A-EC69-4F4C-B513-DF8A7BD3E8F3}"/>
    <dgm:cxn modelId="{4947AB2B-E090-4A5C-972E-AEA89CC334A5}" srcId="{7401B0DE-61BF-4A88-BB5B-B392E0E49FB6}" destId="{1D88034A-4C78-4928-BB91-7A38A6AD0A74}" srcOrd="2" destOrd="0" parTransId="{B5D6E227-EE29-4E11-B28C-C915C9D2940D}" sibTransId="{A517A3F1-ED74-4FFA-9E10-2F34AF43F1EC}"/>
    <dgm:cxn modelId="{1F393738-3E8F-42E0-A8F5-24F4E132D2FA}" srcId="{7401B0DE-61BF-4A88-BB5B-B392E0E49FB6}" destId="{589A1FC3-BFD8-4A0E-ADAF-6FE60C73F018}" srcOrd="0" destOrd="0" parTransId="{3A39BAAF-F505-4013-A509-C21F50B4A0F8}" sibTransId="{95972418-F57C-4C27-8440-DB266D1228D0}"/>
    <dgm:cxn modelId="{2DB20E42-6981-4474-82C9-8D7EE771A346}" type="presOf" srcId="{98F2F1A7-4A47-4E17-AB3A-363BE2C2C135}" destId="{C6674ABF-D6CA-460F-9513-36418065EBD7}" srcOrd="0" destOrd="0" presId="urn:madeinoffice.com/office/officeart/2005/8/layout/ProzessketteMitTextboxenUnterhalb"/>
    <dgm:cxn modelId="{AAEFFE64-396B-431F-BAFC-A96F2351CD58}" type="presOf" srcId="{D6ED2971-6D42-4425-85A1-614D22BAB2E5}" destId="{6D8D533F-6F7A-4D67-ACA6-D2CF39DF6834}" srcOrd="0" destOrd="0" presId="urn:madeinoffice.com/office/officeart/2005/8/layout/ProzessketteMitTextboxenUnterhalb"/>
    <dgm:cxn modelId="{388CF970-3B92-4B2F-8AA0-619F35A5AA25}" type="presOf" srcId="{25AF61FF-CD3F-4320-9644-1A666005F5D3}" destId="{85983522-54B0-41CC-BE51-EE1131B3765A}" srcOrd="0" destOrd="0" presId="urn:madeinoffice.com/office/officeart/2005/8/layout/ProzessketteMitTextboxenUnterhalb"/>
    <dgm:cxn modelId="{77FE9251-A7CD-4149-B518-4F6D367BACA4}" type="presOf" srcId="{1D88034A-4C78-4928-BB91-7A38A6AD0A74}" destId="{D7ACFF19-40E9-428A-B4C4-0B4D2E78B3A5}" srcOrd="0" destOrd="0" presId="urn:madeinoffice.com/office/officeart/2005/8/layout/ProzessketteMitTextboxenUnterhalb"/>
    <dgm:cxn modelId="{79096581-8CD0-4586-8B07-BB67E608915F}" type="presOf" srcId="{589A1FC3-BFD8-4A0E-ADAF-6FE60C73F018}" destId="{03BCE79E-19A3-4D8C-960B-CA7DB00C5AE4}" srcOrd="0" destOrd="0" presId="urn:madeinoffice.com/office/officeart/2005/8/layout/ProzessketteMitTextboxenUnterhalb"/>
    <dgm:cxn modelId="{DA452D8B-2839-4170-8445-96F896BA4F19}" type="presOf" srcId="{5ACF19B5-E364-4396-9C9F-0C6F6678B543}" destId="{A94118BB-20C7-45DD-8142-C87ABB4823AA}" srcOrd="0" destOrd="0" presId="urn:madeinoffice.com/office/officeart/2005/8/layout/ProzessketteMitTextboxenUnterhalb"/>
    <dgm:cxn modelId="{0D93F18E-4FB1-483B-9C2D-B81727BC5BC1}" type="presOf" srcId="{7401B0DE-61BF-4A88-BB5B-B392E0E49FB6}" destId="{B1207ED9-5F09-4652-BFF5-169BE9A57372}" srcOrd="0" destOrd="0" presId="urn:madeinoffice.com/office/officeart/2005/8/layout/ProzessketteMitTextboxenUnterhalb"/>
    <dgm:cxn modelId="{8BDC8791-C7DC-48EB-AE2B-C3D73347034E}" srcId="{98F2F1A7-4A47-4E17-AB3A-363BE2C2C135}" destId="{64ED7F40-5AA2-456C-83D8-70D4068E4A66}" srcOrd="0" destOrd="0" parTransId="{A11D4BC6-DCFC-42CE-8F2D-5D526E48A5CE}" sibTransId="{FE33E613-6E3A-45C8-B821-C76A6881D16A}"/>
    <dgm:cxn modelId="{22E1B4A4-995E-4E0F-811F-3D137C54DABA}" type="presOf" srcId="{64ED7F40-5AA2-456C-83D8-70D4068E4A66}" destId="{745F8DD8-E5E1-4A4E-9516-F2B9D7FCFD6F}" srcOrd="0" destOrd="0" presId="urn:madeinoffice.com/office/officeart/2005/8/layout/ProzessketteMitTextboxenUnterhalb"/>
    <dgm:cxn modelId="{AA03D7A4-8B06-446B-97D2-A5BEAA155443}" srcId="{25AF61FF-CD3F-4320-9644-1A666005F5D3}" destId="{7401B0DE-61BF-4A88-BB5B-B392E0E49FB6}" srcOrd="1" destOrd="0" parTransId="{F84B43F1-7255-4C67-9996-27C0C5A4B06D}" sibTransId="{0BFC7983-B561-4C4A-A69C-6D23B1A01810}"/>
    <dgm:cxn modelId="{9B7681B1-DB26-4516-B890-902C51C2897C}" srcId="{7401B0DE-61BF-4A88-BB5B-B392E0E49FB6}" destId="{A3B944DE-23A4-44C1-980E-09A42B5B8860}" srcOrd="1" destOrd="0" parTransId="{40AC23C9-6406-4482-9607-6FC9B5AC5450}" sibTransId="{969110F3-28A2-4DEC-BE88-F2940F15FD37}"/>
    <dgm:cxn modelId="{F9C773B4-0458-4640-B278-85BBA57855FA}" srcId="{98F2F1A7-4A47-4E17-AB3A-363BE2C2C135}" destId="{5ACF19B5-E364-4396-9C9F-0C6F6678B543}" srcOrd="1" destOrd="0" parTransId="{5C011B18-62E2-41D3-9672-24E5251FE749}" sibTransId="{017DA7CA-48AC-4AE3-B206-FDD51FB11C4F}"/>
    <dgm:cxn modelId="{6285F0BC-D552-4056-AF2A-6CE18EAAA8E9}" srcId="{25AF61FF-CD3F-4320-9644-1A666005F5D3}" destId="{98F2F1A7-4A47-4E17-AB3A-363BE2C2C135}" srcOrd="0" destOrd="0" parTransId="{E8F90E9B-F257-4A21-B73C-4532CEC821F5}" sibTransId="{A40B4662-56EA-4825-9EB3-7887EA865A14}"/>
    <dgm:cxn modelId="{47ADCDCB-9469-437F-971D-9A7847876B77}" type="presOf" srcId="{03760581-3077-46CC-A047-044CCB08DE09}" destId="{B9C87496-D0F6-4B09-BFF2-A2B327A006A8}" srcOrd="0" destOrd="0" presId="urn:madeinoffice.com/office/officeart/2005/8/layout/ProzessketteMitTextboxenUnterhalb"/>
    <dgm:cxn modelId="{E4127CF1-9027-4FCD-9C8F-C2E029AFE82C}" srcId="{25AF61FF-CD3F-4320-9644-1A666005F5D3}" destId="{88E841CF-01DA-439D-926E-9D9BE433561D}" srcOrd="2" destOrd="0" parTransId="{644F8D59-76EC-4427-9905-9B671492A068}" sibTransId="{16933660-E66B-4B32-A2A6-B52B518548A6}"/>
    <dgm:cxn modelId="{09AD4F92-C66E-40CE-BBE5-CD54BEC5699A}" type="presParOf" srcId="{85983522-54B0-41CC-BE51-EE1131B3765A}" destId="{17F95ADE-5631-46E2-BFF1-371060555B64}" srcOrd="0" destOrd="0" presId="urn:madeinoffice.com/office/officeart/2005/8/layout/ProzessketteMitTextboxenUnterhalb"/>
    <dgm:cxn modelId="{D4553668-4769-44CF-A239-5F0C94EF40F4}" type="presParOf" srcId="{17F95ADE-5631-46E2-BFF1-371060555B64}" destId="{A1C5A853-5050-41EA-ACF1-F275E495773E}" srcOrd="0" destOrd="0" presId="urn:madeinoffice.com/office/officeart/2005/8/layout/ProzessketteMitTextboxenUnterhalb"/>
    <dgm:cxn modelId="{07C0ED78-44EE-4D9E-A311-8FBB0E88689A}" type="presParOf" srcId="{17F95ADE-5631-46E2-BFF1-371060555B64}" destId="{C6674ABF-D6CA-460F-9513-36418065EBD7}" srcOrd="1" destOrd="0" presId="urn:madeinoffice.com/office/officeart/2005/8/layout/ProzessketteMitTextboxenUnterhalb"/>
    <dgm:cxn modelId="{74539A51-4277-47D6-84D7-06E17D924895}" type="presParOf" srcId="{17F95ADE-5631-46E2-BFF1-371060555B64}" destId="{9B7DC6E4-8254-45C3-B58B-7550C50C724F}" srcOrd="2" destOrd="0" presId="urn:madeinoffice.com/office/officeart/2005/8/layout/ProzessketteMitTextboxenUnterhalb"/>
    <dgm:cxn modelId="{73DC9EB1-8FB5-42E9-8D93-4A6066BABDED}" type="presParOf" srcId="{9B7DC6E4-8254-45C3-B58B-7550C50C724F}" destId="{4E02B19F-7D30-4141-BFC4-97404A2B6501}" srcOrd="0" destOrd="0" presId="urn:madeinoffice.com/office/officeart/2005/8/layout/ProzessketteMitTextboxenUnterhalb"/>
    <dgm:cxn modelId="{E09CDCBF-E0D0-4841-B071-92D5A320886B}" type="presParOf" srcId="{4E02B19F-7D30-4141-BFC4-97404A2B6501}" destId="{5C4FC227-0F1C-4CEF-8ABC-14547FF5B28E}" srcOrd="0" destOrd="0" presId="urn:madeinoffice.com/office/officeart/2005/8/layout/ProzessketteMitTextboxenUnterhalb"/>
    <dgm:cxn modelId="{31AD2198-FDBC-48EE-81F6-0C95414C2C35}" type="presParOf" srcId="{4E02B19F-7D30-4141-BFC4-97404A2B6501}" destId="{745F8DD8-E5E1-4A4E-9516-F2B9D7FCFD6F}" srcOrd="1" destOrd="0" presId="urn:madeinoffice.com/office/officeart/2005/8/layout/ProzessketteMitTextboxenUnterhalb"/>
    <dgm:cxn modelId="{2A182FC7-FE81-4248-BE97-ACDFF8E58662}" type="presParOf" srcId="{9B7DC6E4-8254-45C3-B58B-7550C50C724F}" destId="{F6D1C2DE-608F-4540-93CF-00DF49EF9000}" srcOrd="1" destOrd="0" presId="urn:madeinoffice.com/office/officeart/2005/8/layout/ProzessketteMitTextboxenUnterhalb"/>
    <dgm:cxn modelId="{25F24E9F-3C32-4EC0-AAFC-EAB3A14AFC71}" type="presParOf" srcId="{9B7DC6E4-8254-45C3-B58B-7550C50C724F}" destId="{F026FD45-113A-48F1-9B17-33027E643750}" srcOrd="2" destOrd="0" presId="urn:madeinoffice.com/office/officeart/2005/8/layout/ProzessketteMitTextboxenUnterhalb"/>
    <dgm:cxn modelId="{7A820966-9269-49F9-840C-B6C118150BEC}" type="presParOf" srcId="{F026FD45-113A-48F1-9B17-33027E643750}" destId="{45EACF86-C495-4806-A52E-36FEA7811285}" srcOrd="0" destOrd="0" presId="urn:madeinoffice.com/office/officeart/2005/8/layout/ProzessketteMitTextboxenUnterhalb"/>
    <dgm:cxn modelId="{F0D2EB7C-9931-4987-84D5-598D8B018328}" type="presParOf" srcId="{F026FD45-113A-48F1-9B17-33027E643750}" destId="{A94118BB-20C7-45DD-8142-C87ABB4823AA}" srcOrd="1" destOrd="0" presId="urn:madeinoffice.com/office/officeart/2005/8/layout/ProzessketteMitTextboxenUnterhalb"/>
    <dgm:cxn modelId="{0A65E079-C4ED-4822-A587-8E5D603F625E}" type="presParOf" srcId="{85983522-54B0-41CC-BE51-EE1131B3765A}" destId="{53F64890-D2B8-444E-A483-DADD463175CC}" srcOrd="1" destOrd="0" presId="urn:madeinoffice.com/office/officeart/2005/8/layout/ProzessketteMitTextboxenUnterhalb"/>
    <dgm:cxn modelId="{AA4BB32C-AC71-4011-87BA-6CE8C4FE91D9}" type="presParOf" srcId="{85983522-54B0-41CC-BE51-EE1131B3765A}" destId="{C2864478-2CF3-4603-B8A5-CF48FD770C7D}" srcOrd="2" destOrd="0" presId="urn:madeinoffice.com/office/officeart/2005/8/layout/ProzessketteMitTextboxenUnterhalb"/>
    <dgm:cxn modelId="{759E6C0D-9DFF-4732-9494-DD0A65CCEC6D}" type="presParOf" srcId="{C2864478-2CF3-4603-B8A5-CF48FD770C7D}" destId="{D6810DCB-A642-4571-A83A-FAEF5C5E7078}" srcOrd="0" destOrd="0" presId="urn:madeinoffice.com/office/officeart/2005/8/layout/ProzessketteMitTextboxenUnterhalb"/>
    <dgm:cxn modelId="{D91C69A0-476D-43F6-9C82-05790A1519E2}" type="presParOf" srcId="{C2864478-2CF3-4603-B8A5-CF48FD770C7D}" destId="{B1207ED9-5F09-4652-BFF5-169BE9A57372}" srcOrd="1" destOrd="0" presId="urn:madeinoffice.com/office/officeart/2005/8/layout/ProzessketteMitTextboxenUnterhalb"/>
    <dgm:cxn modelId="{CCD2986E-BC41-4631-8152-16D7B0BDCF03}" type="presParOf" srcId="{C2864478-2CF3-4603-B8A5-CF48FD770C7D}" destId="{2268A8CE-8192-44A5-B183-A073ECAA38A5}" srcOrd="2" destOrd="0" presId="urn:madeinoffice.com/office/officeart/2005/8/layout/ProzessketteMitTextboxenUnterhalb"/>
    <dgm:cxn modelId="{8B15A5F8-2458-4F22-96C6-4ADA9E28382C}" type="presParOf" srcId="{2268A8CE-8192-44A5-B183-A073ECAA38A5}" destId="{6A762ED2-F01B-4FF7-BC03-BD36CE1C5C63}" srcOrd="0" destOrd="0" presId="urn:madeinoffice.com/office/officeart/2005/8/layout/ProzessketteMitTextboxenUnterhalb"/>
    <dgm:cxn modelId="{F3A8C80A-9130-4405-9F7D-A4EBE8EE05AC}" type="presParOf" srcId="{6A762ED2-F01B-4FF7-BC03-BD36CE1C5C63}" destId="{71E3D0DB-5CEC-400D-BB3C-BA4453200D87}" srcOrd="0" destOrd="0" presId="urn:madeinoffice.com/office/officeart/2005/8/layout/ProzessketteMitTextboxenUnterhalb"/>
    <dgm:cxn modelId="{596E41C7-6C20-44A9-A12D-DB18F61478D5}" type="presParOf" srcId="{6A762ED2-F01B-4FF7-BC03-BD36CE1C5C63}" destId="{03BCE79E-19A3-4D8C-960B-CA7DB00C5AE4}" srcOrd="1" destOrd="0" presId="urn:madeinoffice.com/office/officeart/2005/8/layout/ProzessketteMitTextboxenUnterhalb"/>
    <dgm:cxn modelId="{4340ECA1-8CFA-408B-BFC4-E10CC548A250}" type="presParOf" srcId="{2268A8CE-8192-44A5-B183-A073ECAA38A5}" destId="{379734FE-23D7-4F06-B1FF-812EE57861F0}" srcOrd="1" destOrd="0" presId="urn:madeinoffice.com/office/officeart/2005/8/layout/ProzessketteMitTextboxenUnterhalb"/>
    <dgm:cxn modelId="{8D8FC57A-0917-448A-8173-CC0925B0F3B1}" type="presParOf" srcId="{2268A8CE-8192-44A5-B183-A073ECAA38A5}" destId="{9A39F83B-1622-4942-93A1-1C7D030CF987}" srcOrd="2" destOrd="0" presId="urn:madeinoffice.com/office/officeart/2005/8/layout/ProzessketteMitTextboxenUnterhalb"/>
    <dgm:cxn modelId="{CCECE405-A8E4-48A1-A657-3C36A604F5CE}" type="presParOf" srcId="{9A39F83B-1622-4942-93A1-1C7D030CF987}" destId="{8A0A0400-8AE2-47BE-8145-41AE60A88AE4}" srcOrd="0" destOrd="0" presId="urn:madeinoffice.com/office/officeart/2005/8/layout/ProzessketteMitTextboxenUnterhalb"/>
    <dgm:cxn modelId="{6F094AE8-A63D-47E3-A006-FDDE44D15046}" type="presParOf" srcId="{9A39F83B-1622-4942-93A1-1C7D030CF987}" destId="{F1069177-A7AD-4B96-9C82-933B0EFEC5B1}" srcOrd="1" destOrd="0" presId="urn:madeinoffice.com/office/officeart/2005/8/layout/ProzessketteMitTextboxenUnterhalb"/>
    <dgm:cxn modelId="{70007839-0E7D-4C92-BEE0-0D10E70D114E}" type="presParOf" srcId="{2268A8CE-8192-44A5-B183-A073ECAA38A5}" destId="{EFF4897E-1846-46AC-B4E9-2E3ACF702459}" srcOrd="3" destOrd="0" presId="urn:madeinoffice.com/office/officeart/2005/8/layout/ProzessketteMitTextboxenUnterhalb"/>
    <dgm:cxn modelId="{BE4BC601-425F-42BD-AEAF-322C5F433118}" type="presParOf" srcId="{2268A8CE-8192-44A5-B183-A073ECAA38A5}" destId="{CB8038BD-180F-4CF2-A930-8D9A53F636BA}" srcOrd="4" destOrd="0" presId="urn:madeinoffice.com/office/officeart/2005/8/layout/ProzessketteMitTextboxenUnterhalb"/>
    <dgm:cxn modelId="{1982C728-6824-4639-A49E-1BBEF0477778}" type="presParOf" srcId="{CB8038BD-180F-4CF2-A930-8D9A53F636BA}" destId="{CF05CDD1-A50E-491D-AE92-D50189BE6975}" srcOrd="0" destOrd="0" presId="urn:madeinoffice.com/office/officeart/2005/8/layout/ProzessketteMitTextboxenUnterhalb"/>
    <dgm:cxn modelId="{C75262A5-E4E7-4681-A10D-A2F1AC06A1B8}" type="presParOf" srcId="{CB8038BD-180F-4CF2-A930-8D9A53F636BA}" destId="{D7ACFF19-40E9-428A-B4C4-0B4D2E78B3A5}" srcOrd="1" destOrd="0" presId="urn:madeinoffice.com/office/officeart/2005/8/layout/ProzessketteMitTextboxenUnterhalb"/>
    <dgm:cxn modelId="{FA0275A9-1481-4B16-9A9C-B6504E7A3676}" type="presParOf" srcId="{2268A8CE-8192-44A5-B183-A073ECAA38A5}" destId="{3B15203B-49FD-428E-8079-A214BC045333}" srcOrd="5" destOrd="0" presId="urn:madeinoffice.com/office/officeart/2005/8/layout/ProzessketteMitTextboxenUnterhalb"/>
    <dgm:cxn modelId="{23786531-1039-4C07-8842-9938CE507ECB}" type="presParOf" srcId="{2268A8CE-8192-44A5-B183-A073ECAA38A5}" destId="{D4E1FF25-6650-4C30-8700-AAD79145299F}" srcOrd="6" destOrd="0" presId="urn:madeinoffice.com/office/officeart/2005/8/layout/ProzessketteMitTextboxenUnterhalb"/>
    <dgm:cxn modelId="{2931A9DA-AD42-4B8C-83D3-0692E3709A38}" type="presParOf" srcId="{D4E1FF25-6650-4C30-8700-AAD79145299F}" destId="{BB4EF2ED-4BB7-4450-81F5-DDC2A2CE8B08}" srcOrd="0" destOrd="0" presId="urn:madeinoffice.com/office/officeart/2005/8/layout/ProzessketteMitTextboxenUnterhalb"/>
    <dgm:cxn modelId="{9D8A3367-64C4-4357-BA88-5BEB1976F647}" type="presParOf" srcId="{D4E1FF25-6650-4C30-8700-AAD79145299F}" destId="{6D8D533F-6F7A-4D67-ACA6-D2CF39DF6834}" srcOrd="1" destOrd="0" presId="urn:madeinoffice.com/office/officeart/2005/8/layout/ProzessketteMitTextboxenUnterhalb"/>
    <dgm:cxn modelId="{21423924-B852-47C1-B1A3-2FB907F9D153}" type="presParOf" srcId="{85983522-54B0-41CC-BE51-EE1131B3765A}" destId="{78597477-A321-4F23-9485-6C0CAF4D9740}" srcOrd="3" destOrd="0" presId="urn:madeinoffice.com/office/officeart/2005/8/layout/ProzessketteMitTextboxenUnterhalb"/>
    <dgm:cxn modelId="{2CA5827D-6AF1-4F78-8A75-3FD7A714EB45}" type="presParOf" srcId="{85983522-54B0-41CC-BE51-EE1131B3765A}" destId="{3357DAA5-6FCE-4010-AFC4-061C9CFBA314}" srcOrd="4" destOrd="0" presId="urn:madeinoffice.com/office/officeart/2005/8/layout/ProzessketteMitTextboxenUnterhalb"/>
    <dgm:cxn modelId="{C611C9A8-8DE2-477D-8E02-AA4EE0C733EC}" type="presParOf" srcId="{3357DAA5-6FCE-4010-AFC4-061C9CFBA314}" destId="{9A81DEE1-2736-4E00-8FFE-BFDEECDA2D26}" srcOrd="0" destOrd="0" presId="urn:madeinoffice.com/office/officeart/2005/8/layout/ProzessketteMitTextboxenUnterhalb"/>
    <dgm:cxn modelId="{F20F74CB-4C76-49B4-BB95-1FB49E25B80E}" type="presParOf" srcId="{3357DAA5-6FCE-4010-AFC4-061C9CFBA314}" destId="{60A4F703-AE08-41B4-9E63-869505154997}" srcOrd="1" destOrd="0" presId="urn:madeinoffice.com/office/officeart/2005/8/layout/ProzessketteMitTextboxenUnterhalb"/>
    <dgm:cxn modelId="{5727D5BD-A0FE-453E-930F-D96B69DAFCBE}" type="presParOf" srcId="{3357DAA5-6FCE-4010-AFC4-061C9CFBA314}" destId="{FDA1E9B5-9107-46AF-B169-D98FC6BFF0D2}" srcOrd="2" destOrd="0" presId="urn:madeinoffice.com/office/officeart/2005/8/layout/ProzessketteMitTextboxenUnterhalb"/>
    <dgm:cxn modelId="{9077E819-D1D4-475C-985F-D1D1545A2782}" type="presParOf" srcId="{85983522-54B0-41CC-BE51-EE1131B3765A}" destId="{E2892283-009F-4687-BBE6-F21B5163452B}" srcOrd="5" destOrd="0" presId="urn:madeinoffice.com/office/officeart/2005/8/layout/ProzessketteMitTextboxenUnterhalb"/>
    <dgm:cxn modelId="{AE0D64A4-6E32-4471-99BD-5FA20ED031CA}" type="presParOf" srcId="{85983522-54B0-41CC-BE51-EE1131B3765A}" destId="{D35B35A5-EE90-47D1-9465-B3E9086B356B}" srcOrd="6" destOrd="0" presId="urn:madeinoffice.com/office/officeart/2005/8/layout/ProzessketteMitTextboxenUnterhalb"/>
    <dgm:cxn modelId="{F099CECA-BDF6-45F0-BD23-4F662C0ACF63}" type="presParOf" srcId="{D35B35A5-EE90-47D1-9465-B3E9086B356B}" destId="{2BD4F195-137F-42F9-A1DA-1CA82C3F158D}" srcOrd="0" destOrd="0" presId="urn:madeinoffice.com/office/officeart/2005/8/layout/ProzessketteMitTextboxenUnterhalb"/>
    <dgm:cxn modelId="{A04EB328-9B95-4B6D-9577-D9308A222909}" type="presParOf" srcId="{D35B35A5-EE90-47D1-9465-B3E9086B356B}" destId="{B9C87496-D0F6-4B09-BFF2-A2B327A006A8}" srcOrd="1" destOrd="0" presId="urn:madeinoffice.com/office/officeart/2005/8/layout/ProzessketteMitTextboxenUnterhalb"/>
    <dgm:cxn modelId="{BEC8365B-91A6-4708-8B75-CE6853DF63A2}" type="presParOf" srcId="{D35B35A5-EE90-47D1-9465-B3E9086B356B}" destId="{9EA5AAF7-1B9C-47A7-B1F5-96160C009039}" srcOrd="2" destOrd="0" presId="urn:madeinoffice.com/office/officeart/2005/8/layout/ProzessketteMitTextboxenUnterhalb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25AF61FF-CD3F-4320-9644-1A666005F5D3}" type="doc">
      <dgm:prSet loTypeId="urn:madeinoffice.com/office/officeart/2005/8/layout/ProzessketteMitTextboxenUnterhalb" loCatId="other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98F2F1A7-4A47-4E17-AB3A-363BE2C2C135}">
      <dgm:prSet phldrT="[Text]" custT="1"/>
      <dgm:spPr/>
      <dgm:t>
        <a:bodyPr/>
        <a:lstStyle/>
        <a:p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Phase de préparation</a:t>
          </a:r>
        </a:p>
      </dgm:t>
    </dgm:pt>
    <dgm:pt modelId="{E8F90E9B-F257-4A21-B73C-4532CEC821F5}" type="parTrans" cxnId="{6285F0BC-D552-4056-AF2A-6CE18EAAA8E9}">
      <dgm:prSet/>
      <dgm:spPr/>
      <dgm:t>
        <a:bodyPr/>
        <a:lstStyle/>
        <a:p>
          <a:endParaRPr lang="en-US" sz="1400" b="1">
            <a:solidFill>
              <a:schemeClr val="bg1"/>
            </a:solidFill>
            <a:latin typeface="Reem Kufi Regular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A40B4662-56EA-4825-9EB3-7887EA865A14}" type="sibTrans" cxnId="{6285F0BC-D552-4056-AF2A-6CE18EAAA8E9}">
      <dgm:prSet/>
      <dgm:spPr/>
      <dgm:t>
        <a:bodyPr/>
        <a:lstStyle/>
        <a:p>
          <a:endParaRPr lang="en-US" sz="1400" b="1">
            <a:solidFill>
              <a:schemeClr val="bg1"/>
            </a:solidFill>
            <a:latin typeface="Reem Kufi Regular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64ED7F40-5AA2-456C-83D8-70D4068E4A66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Auto-formation aux principes du machine-learning</a:t>
          </a:r>
        </a:p>
      </dgm:t>
    </dgm:pt>
    <dgm:pt modelId="{A11D4BC6-DCFC-42CE-8F2D-5D526E48A5CE}" type="parTrans" cxnId="{8BDC8791-C7DC-48EB-AE2B-C3D73347034E}">
      <dgm:prSet/>
      <dgm:spPr/>
      <dgm:t>
        <a:bodyPr/>
        <a:lstStyle/>
        <a:p>
          <a:endParaRPr lang="fr-FR"/>
        </a:p>
      </dgm:t>
    </dgm:pt>
    <dgm:pt modelId="{FE33E613-6E3A-45C8-B821-C76A6881D16A}" type="sibTrans" cxnId="{8BDC8791-C7DC-48EB-AE2B-C3D73347034E}">
      <dgm:prSet/>
      <dgm:spPr/>
      <dgm:t>
        <a:bodyPr/>
        <a:lstStyle/>
        <a:p>
          <a:endParaRPr lang="fr-FR"/>
        </a:p>
      </dgm:t>
    </dgm:pt>
    <dgm:pt modelId="{03760581-3077-46CC-A047-044CCB08DE09}">
      <dgm:prSet phldrT="[Text]" custT="1"/>
      <dgm:spPr/>
      <dgm:t>
        <a:bodyPr/>
        <a:lstStyle/>
        <a:p>
          <a:pPr algn="ctr"/>
          <a:endParaRPr lang="de-DE" sz="1600" b="1" dirty="0">
            <a:solidFill>
              <a:schemeClr val="bg1"/>
            </a:solidFill>
            <a:latin typeface="Reem Kufi Regular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79C83EEF-06A9-4255-A205-C8C7C3327A8E}" type="parTrans" cxnId="{EAEDC101-C8B8-462B-BFC4-5D1DCCB77779}">
      <dgm:prSet/>
      <dgm:spPr/>
      <dgm:t>
        <a:bodyPr/>
        <a:lstStyle/>
        <a:p>
          <a:endParaRPr lang="fr-FR"/>
        </a:p>
      </dgm:t>
    </dgm:pt>
    <dgm:pt modelId="{AF58A036-82F8-45CD-8F80-83AC587796CD}" type="sibTrans" cxnId="{EAEDC101-C8B8-462B-BFC4-5D1DCCB77779}">
      <dgm:prSet/>
      <dgm:spPr/>
      <dgm:t>
        <a:bodyPr/>
        <a:lstStyle/>
        <a:p>
          <a:endParaRPr lang="fr-FR"/>
        </a:p>
      </dgm:t>
    </dgm:pt>
    <dgm:pt modelId="{7401B0DE-61BF-4A88-BB5B-B392E0E49FB6}">
      <dgm:prSet phldrT="[Text]" custT="1"/>
      <dgm:spPr/>
      <dgm:t>
        <a:bodyPr/>
        <a:lstStyle/>
        <a:p>
          <a:pPr algn="ctr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Choix des applications</a:t>
          </a:r>
        </a:p>
      </dgm:t>
    </dgm:pt>
    <dgm:pt modelId="{F84B43F1-7255-4C67-9996-27C0C5A4B06D}" type="parTrans" cxnId="{AA03D7A4-8B06-446B-97D2-A5BEAA155443}">
      <dgm:prSet/>
      <dgm:spPr/>
      <dgm:t>
        <a:bodyPr/>
        <a:lstStyle/>
        <a:p>
          <a:endParaRPr lang="fr-FR"/>
        </a:p>
      </dgm:t>
    </dgm:pt>
    <dgm:pt modelId="{0BFC7983-B561-4C4A-A69C-6D23B1A01810}" type="sibTrans" cxnId="{AA03D7A4-8B06-446B-97D2-A5BEAA155443}">
      <dgm:prSet/>
      <dgm:spPr/>
      <dgm:t>
        <a:bodyPr/>
        <a:lstStyle/>
        <a:p>
          <a:endParaRPr lang="fr-FR"/>
        </a:p>
      </dgm:t>
    </dgm:pt>
    <dgm:pt modelId="{5ACF19B5-E364-4396-9C9F-0C6F6678B543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s techniques de compréhension de texte</a:t>
          </a:r>
        </a:p>
      </dgm:t>
    </dgm:pt>
    <dgm:pt modelId="{5C011B18-62E2-41D3-9672-24E5251FE749}" type="parTrans" cxnId="{F9C773B4-0458-4640-B278-85BBA57855FA}">
      <dgm:prSet/>
      <dgm:spPr/>
      <dgm:t>
        <a:bodyPr/>
        <a:lstStyle/>
        <a:p>
          <a:endParaRPr lang="fr-FR"/>
        </a:p>
      </dgm:t>
    </dgm:pt>
    <dgm:pt modelId="{017DA7CA-48AC-4AE3-B206-FDD51FB11C4F}" type="sibTrans" cxnId="{F9C773B4-0458-4640-B278-85BBA57855FA}">
      <dgm:prSet/>
      <dgm:spPr/>
      <dgm:t>
        <a:bodyPr/>
        <a:lstStyle/>
        <a:p>
          <a:endParaRPr lang="fr-FR"/>
        </a:p>
      </dgm:t>
    </dgm:pt>
    <dgm:pt modelId="{88E841CF-01DA-439D-926E-9D9BE433561D}">
      <dgm:prSet phldrT="[Text]" custT="1"/>
      <dgm:spPr/>
      <dgm:t>
        <a:bodyPr/>
        <a:lstStyle/>
        <a:p>
          <a:pPr algn="ctr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Developpement des applications</a:t>
          </a:r>
        </a:p>
      </dgm:t>
    </dgm:pt>
    <dgm:pt modelId="{644F8D59-76EC-4427-9905-9B671492A068}" type="parTrans" cxnId="{E4127CF1-9027-4FCD-9C8F-C2E029AFE82C}">
      <dgm:prSet/>
      <dgm:spPr/>
      <dgm:t>
        <a:bodyPr/>
        <a:lstStyle/>
        <a:p>
          <a:endParaRPr lang="fr-FR"/>
        </a:p>
      </dgm:t>
    </dgm:pt>
    <dgm:pt modelId="{16933660-E66B-4B32-A2A6-B52B518548A6}" type="sibTrans" cxnId="{E4127CF1-9027-4FCD-9C8F-C2E029AFE82C}">
      <dgm:prSet/>
      <dgm:spPr/>
      <dgm:t>
        <a:bodyPr/>
        <a:lstStyle/>
        <a:p>
          <a:endParaRPr lang="fr-FR"/>
        </a:p>
      </dgm:t>
    </dgm:pt>
    <dgm:pt modelId="{589A1FC3-BFD8-4A0E-ADAF-6FE60C73F018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u moteur de recherche</a:t>
          </a:r>
        </a:p>
      </dgm:t>
    </dgm:pt>
    <dgm:pt modelId="{3A39BAAF-F505-4013-A509-C21F50B4A0F8}" type="parTrans" cxnId="{1F393738-3E8F-42E0-A8F5-24F4E132D2FA}">
      <dgm:prSet/>
      <dgm:spPr/>
      <dgm:t>
        <a:bodyPr/>
        <a:lstStyle/>
        <a:p>
          <a:endParaRPr lang="fr-FR"/>
        </a:p>
      </dgm:t>
    </dgm:pt>
    <dgm:pt modelId="{95972418-F57C-4C27-8440-DB266D1228D0}" type="sibTrans" cxnId="{1F393738-3E8F-42E0-A8F5-24F4E132D2FA}">
      <dgm:prSet/>
      <dgm:spPr/>
      <dgm:t>
        <a:bodyPr/>
        <a:lstStyle/>
        <a:p>
          <a:endParaRPr lang="fr-FR"/>
        </a:p>
      </dgm:t>
    </dgm:pt>
    <dgm:pt modelId="{A3B944DE-23A4-44C1-980E-09A42B5B8860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 catégorisation de texte</a:t>
          </a:r>
        </a:p>
      </dgm:t>
    </dgm:pt>
    <dgm:pt modelId="{40AC23C9-6406-4482-9607-6FC9B5AC5450}" type="parTrans" cxnId="{9B7681B1-DB26-4516-B890-902C51C2897C}">
      <dgm:prSet/>
      <dgm:spPr/>
      <dgm:t>
        <a:bodyPr/>
        <a:lstStyle/>
        <a:p>
          <a:endParaRPr lang="fr-FR"/>
        </a:p>
      </dgm:t>
    </dgm:pt>
    <dgm:pt modelId="{969110F3-28A2-4DEC-BE88-F2940F15FD37}" type="sibTrans" cxnId="{9B7681B1-DB26-4516-B890-902C51C2897C}">
      <dgm:prSet/>
      <dgm:spPr/>
      <dgm:t>
        <a:bodyPr/>
        <a:lstStyle/>
        <a:p>
          <a:endParaRPr lang="fr-FR"/>
        </a:p>
      </dgm:t>
    </dgm:pt>
    <dgm:pt modelId="{1D88034A-4C78-4928-BB91-7A38A6AD0A74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 la détection de spam</a:t>
          </a:r>
        </a:p>
      </dgm:t>
    </dgm:pt>
    <dgm:pt modelId="{B5D6E227-EE29-4E11-B28C-C915C9D2940D}" type="parTrans" cxnId="{4947AB2B-E090-4A5C-972E-AEA89CC334A5}">
      <dgm:prSet/>
      <dgm:spPr/>
      <dgm:t>
        <a:bodyPr/>
        <a:lstStyle/>
        <a:p>
          <a:endParaRPr lang="fr-FR"/>
        </a:p>
      </dgm:t>
    </dgm:pt>
    <dgm:pt modelId="{A517A3F1-ED74-4FFA-9E10-2F34AF43F1EC}" type="sibTrans" cxnId="{4947AB2B-E090-4A5C-972E-AEA89CC334A5}">
      <dgm:prSet/>
      <dgm:spPr/>
      <dgm:t>
        <a:bodyPr/>
        <a:lstStyle/>
        <a:p>
          <a:endParaRPr lang="fr-FR"/>
        </a:p>
      </dgm:t>
    </dgm:pt>
    <dgm:pt modelId="{D6ED2971-6D42-4425-85A1-614D22BAB2E5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 l‘analyse de sentiment</a:t>
          </a:r>
        </a:p>
      </dgm:t>
    </dgm:pt>
    <dgm:pt modelId="{765AD8F4-E71A-4D90-B9D8-B3043D7C6BD7}" type="parTrans" cxnId="{5A453026-6629-4DE7-8BC5-E7B7D98E0B8D}">
      <dgm:prSet/>
      <dgm:spPr/>
      <dgm:t>
        <a:bodyPr/>
        <a:lstStyle/>
        <a:p>
          <a:endParaRPr lang="fr-FR"/>
        </a:p>
      </dgm:t>
    </dgm:pt>
    <dgm:pt modelId="{C3E44D1A-EC69-4F4C-B513-DF8A7BD3E8F3}" type="sibTrans" cxnId="{5A453026-6629-4DE7-8BC5-E7B7D98E0B8D}">
      <dgm:prSet/>
      <dgm:spPr/>
      <dgm:t>
        <a:bodyPr/>
        <a:lstStyle/>
        <a:p>
          <a:endParaRPr lang="fr-FR"/>
        </a:p>
      </dgm:t>
    </dgm:pt>
    <dgm:pt modelId="{13A8598E-0624-4FB9-91CD-68AE606F4216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Optmisation des classifieurs</a:t>
          </a:r>
        </a:p>
      </dgm:t>
    </dgm:pt>
    <dgm:pt modelId="{7D64BF9E-CBE1-40EC-8DA7-7E79B9F3BB32}" type="parTrans" cxnId="{CC666AC0-D428-4DEB-AB1E-3F2EA711182B}">
      <dgm:prSet/>
      <dgm:spPr/>
      <dgm:t>
        <a:bodyPr/>
        <a:lstStyle/>
        <a:p>
          <a:endParaRPr lang="fr-FR"/>
        </a:p>
      </dgm:t>
    </dgm:pt>
    <dgm:pt modelId="{2F432F05-BC11-4A35-9D1F-C8B56D44E244}" type="sibTrans" cxnId="{CC666AC0-D428-4DEB-AB1E-3F2EA711182B}">
      <dgm:prSet/>
      <dgm:spPr/>
      <dgm:t>
        <a:bodyPr/>
        <a:lstStyle/>
        <a:p>
          <a:endParaRPr lang="fr-FR"/>
        </a:p>
      </dgm:t>
    </dgm:pt>
    <dgm:pt modelId="{C59DC4DA-93F9-4214-A9CB-45E6CF0BD86B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‘une 5ième application: Résumé de texte</a:t>
          </a:r>
        </a:p>
      </dgm:t>
    </dgm:pt>
    <dgm:pt modelId="{AED9F8B4-34EF-4AC4-B711-D3AB199C5A8F}" type="parTrans" cxnId="{FF928B09-F5E8-42B1-BC06-C0F1E20C56F2}">
      <dgm:prSet/>
      <dgm:spPr/>
      <dgm:t>
        <a:bodyPr/>
        <a:lstStyle/>
        <a:p>
          <a:endParaRPr lang="fr-FR"/>
        </a:p>
      </dgm:t>
    </dgm:pt>
    <dgm:pt modelId="{0BEA8993-0972-4AA4-8DDF-E611D4469064}" type="sibTrans" cxnId="{FF928B09-F5E8-42B1-BC06-C0F1E20C56F2}">
      <dgm:prSet/>
      <dgm:spPr/>
      <dgm:t>
        <a:bodyPr/>
        <a:lstStyle/>
        <a:p>
          <a:endParaRPr lang="fr-FR"/>
        </a:p>
      </dgm:t>
    </dgm:pt>
    <dgm:pt modelId="{85983522-54B0-41CC-BE51-EE1131B3765A}" type="pres">
      <dgm:prSet presAssocID="{25AF61FF-CD3F-4320-9644-1A666005F5D3}" presName="Name0" presStyleCnt="0">
        <dgm:presLayoutVars>
          <dgm:dir/>
        </dgm:presLayoutVars>
      </dgm:prSet>
      <dgm:spPr/>
    </dgm:pt>
    <dgm:pt modelId="{17F95ADE-5631-46E2-BFF1-371060555B64}" type="pres">
      <dgm:prSet presAssocID="{98F2F1A7-4A47-4E17-AB3A-363BE2C2C135}" presName="composite" presStyleCnt="0"/>
      <dgm:spPr/>
    </dgm:pt>
    <dgm:pt modelId="{A1C5A853-5050-41EA-ACF1-F275E495773E}" type="pres">
      <dgm:prSet presAssocID="{98F2F1A7-4A47-4E17-AB3A-363BE2C2C135}" presName="background" presStyleLbl="revTx" presStyleIdx="0" presStyleCnt="12"/>
      <dgm:spPr/>
    </dgm:pt>
    <dgm:pt modelId="{C6674ABF-D6CA-460F-9513-36418065EBD7}" type="pres">
      <dgm:prSet presAssocID="{98F2F1A7-4A47-4E17-AB3A-363BE2C2C135}" presName="txLvl1" presStyleLbl="alignNode1" presStyleIdx="0" presStyleCnt="12"/>
      <dgm:spPr/>
    </dgm:pt>
    <dgm:pt modelId="{9B7DC6E4-8254-45C3-B58B-7550C50C724F}" type="pres">
      <dgm:prSet presAssocID="{98F2F1A7-4A47-4E17-AB3A-363BE2C2C135}" presName="lin" presStyleCnt="0"/>
      <dgm:spPr/>
    </dgm:pt>
    <dgm:pt modelId="{4E02B19F-7D30-4141-BFC4-97404A2B6501}" type="pres">
      <dgm:prSet presAssocID="{64ED7F40-5AA2-456C-83D8-70D4068E4A66}" presName="innerLin" presStyleCnt="0"/>
      <dgm:spPr/>
    </dgm:pt>
    <dgm:pt modelId="{5C4FC227-0F1C-4CEF-8ABC-14547FF5B28E}" type="pres">
      <dgm:prSet presAssocID="{64ED7F40-5AA2-456C-83D8-70D4068E4A66}" presName="square" presStyleLbl="alignNode1" presStyleIdx="1" presStyleCnt="12"/>
      <dgm:spPr/>
    </dgm:pt>
    <dgm:pt modelId="{745F8DD8-E5E1-4A4E-9516-F2B9D7FCFD6F}" type="pres">
      <dgm:prSet presAssocID="{64ED7F40-5AA2-456C-83D8-70D4068E4A66}" presName="txLvl2" presStyleLbl="revTx" presStyleIdx="1" presStyleCnt="12"/>
      <dgm:spPr/>
    </dgm:pt>
    <dgm:pt modelId="{F6D1C2DE-608F-4540-93CF-00DF49EF9000}" type="pres">
      <dgm:prSet presAssocID="{FE33E613-6E3A-45C8-B821-C76A6881D16A}" presName="innerSpace" presStyleCnt="0"/>
      <dgm:spPr/>
    </dgm:pt>
    <dgm:pt modelId="{F026FD45-113A-48F1-9B17-33027E643750}" type="pres">
      <dgm:prSet presAssocID="{5ACF19B5-E364-4396-9C9F-0C6F6678B543}" presName="innerLin" presStyleCnt="0"/>
      <dgm:spPr/>
    </dgm:pt>
    <dgm:pt modelId="{45EACF86-C495-4806-A52E-36FEA7811285}" type="pres">
      <dgm:prSet presAssocID="{5ACF19B5-E364-4396-9C9F-0C6F6678B543}" presName="square" presStyleLbl="alignNode1" presStyleIdx="2" presStyleCnt="12"/>
      <dgm:spPr/>
    </dgm:pt>
    <dgm:pt modelId="{A94118BB-20C7-45DD-8142-C87ABB4823AA}" type="pres">
      <dgm:prSet presAssocID="{5ACF19B5-E364-4396-9C9F-0C6F6678B543}" presName="txLvl2" presStyleLbl="revTx" presStyleIdx="2" presStyleCnt="12"/>
      <dgm:spPr/>
    </dgm:pt>
    <dgm:pt modelId="{53F64890-D2B8-444E-A483-DADD463175CC}" type="pres">
      <dgm:prSet presAssocID="{A40B4662-56EA-4825-9EB3-7887EA865A14}" presName="space" presStyleCnt="0"/>
      <dgm:spPr/>
    </dgm:pt>
    <dgm:pt modelId="{C2864478-2CF3-4603-B8A5-CF48FD770C7D}" type="pres">
      <dgm:prSet presAssocID="{7401B0DE-61BF-4A88-BB5B-B392E0E49FB6}" presName="composite" presStyleCnt="0"/>
      <dgm:spPr/>
    </dgm:pt>
    <dgm:pt modelId="{D6810DCB-A642-4571-A83A-FAEF5C5E7078}" type="pres">
      <dgm:prSet presAssocID="{7401B0DE-61BF-4A88-BB5B-B392E0E49FB6}" presName="background" presStyleLbl="revTx" presStyleIdx="3" presStyleCnt="12"/>
      <dgm:spPr/>
    </dgm:pt>
    <dgm:pt modelId="{B1207ED9-5F09-4652-BFF5-169BE9A57372}" type="pres">
      <dgm:prSet presAssocID="{7401B0DE-61BF-4A88-BB5B-B392E0E49FB6}" presName="txLvl1" presStyleLbl="alignNode1" presStyleIdx="3" presStyleCnt="12"/>
      <dgm:spPr/>
    </dgm:pt>
    <dgm:pt modelId="{2268A8CE-8192-44A5-B183-A073ECAA38A5}" type="pres">
      <dgm:prSet presAssocID="{7401B0DE-61BF-4A88-BB5B-B392E0E49FB6}" presName="lin" presStyleCnt="0"/>
      <dgm:spPr/>
    </dgm:pt>
    <dgm:pt modelId="{6A762ED2-F01B-4FF7-BC03-BD36CE1C5C63}" type="pres">
      <dgm:prSet presAssocID="{589A1FC3-BFD8-4A0E-ADAF-6FE60C73F018}" presName="innerLin" presStyleCnt="0"/>
      <dgm:spPr/>
    </dgm:pt>
    <dgm:pt modelId="{71E3D0DB-5CEC-400D-BB3C-BA4453200D87}" type="pres">
      <dgm:prSet presAssocID="{589A1FC3-BFD8-4A0E-ADAF-6FE60C73F018}" presName="square" presStyleLbl="alignNode1" presStyleIdx="4" presStyleCnt="12"/>
      <dgm:spPr/>
    </dgm:pt>
    <dgm:pt modelId="{03BCE79E-19A3-4D8C-960B-CA7DB00C5AE4}" type="pres">
      <dgm:prSet presAssocID="{589A1FC3-BFD8-4A0E-ADAF-6FE60C73F018}" presName="txLvl2" presStyleLbl="revTx" presStyleIdx="4" presStyleCnt="12"/>
      <dgm:spPr/>
    </dgm:pt>
    <dgm:pt modelId="{379734FE-23D7-4F06-B1FF-812EE57861F0}" type="pres">
      <dgm:prSet presAssocID="{95972418-F57C-4C27-8440-DB266D1228D0}" presName="innerSpace" presStyleCnt="0"/>
      <dgm:spPr/>
    </dgm:pt>
    <dgm:pt modelId="{9A39F83B-1622-4942-93A1-1C7D030CF987}" type="pres">
      <dgm:prSet presAssocID="{A3B944DE-23A4-44C1-980E-09A42B5B8860}" presName="innerLin" presStyleCnt="0"/>
      <dgm:spPr/>
    </dgm:pt>
    <dgm:pt modelId="{8A0A0400-8AE2-47BE-8145-41AE60A88AE4}" type="pres">
      <dgm:prSet presAssocID="{A3B944DE-23A4-44C1-980E-09A42B5B8860}" presName="square" presStyleLbl="alignNode1" presStyleIdx="5" presStyleCnt="12"/>
      <dgm:spPr/>
    </dgm:pt>
    <dgm:pt modelId="{F1069177-A7AD-4B96-9C82-933B0EFEC5B1}" type="pres">
      <dgm:prSet presAssocID="{A3B944DE-23A4-44C1-980E-09A42B5B8860}" presName="txLvl2" presStyleLbl="revTx" presStyleIdx="5" presStyleCnt="12"/>
      <dgm:spPr/>
    </dgm:pt>
    <dgm:pt modelId="{EFF4897E-1846-46AC-B4E9-2E3ACF702459}" type="pres">
      <dgm:prSet presAssocID="{969110F3-28A2-4DEC-BE88-F2940F15FD37}" presName="innerSpace" presStyleCnt="0"/>
      <dgm:spPr/>
    </dgm:pt>
    <dgm:pt modelId="{CB8038BD-180F-4CF2-A930-8D9A53F636BA}" type="pres">
      <dgm:prSet presAssocID="{1D88034A-4C78-4928-BB91-7A38A6AD0A74}" presName="innerLin" presStyleCnt="0"/>
      <dgm:spPr/>
    </dgm:pt>
    <dgm:pt modelId="{CF05CDD1-A50E-491D-AE92-D50189BE6975}" type="pres">
      <dgm:prSet presAssocID="{1D88034A-4C78-4928-BB91-7A38A6AD0A74}" presName="square" presStyleLbl="alignNode1" presStyleIdx="6" presStyleCnt="12"/>
      <dgm:spPr/>
    </dgm:pt>
    <dgm:pt modelId="{D7ACFF19-40E9-428A-B4C4-0B4D2E78B3A5}" type="pres">
      <dgm:prSet presAssocID="{1D88034A-4C78-4928-BB91-7A38A6AD0A74}" presName="txLvl2" presStyleLbl="revTx" presStyleIdx="6" presStyleCnt="12"/>
      <dgm:spPr/>
    </dgm:pt>
    <dgm:pt modelId="{3B15203B-49FD-428E-8079-A214BC045333}" type="pres">
      <dgm:prSet presAssocID="{A517A3F1-ED74-4FFA-9E10-2F34AF43F1EC}" presName="innerSpace" presStyleCnt="0"/>
      <dgm:spPr/>
    </dgm:pt>
    <dgm:pt modelId="{D4E1FF25-6650-4C30-8700-AAD79145299F}" type="pres">
      <dgm:prSet presAssocID="{D6ED2971-6D42-4425-85A1-614D22BAB2E5}" presName="innerLin" presStyleCnt="0"/>
      <dgm:spPr/>
    </dgm:pt>
    <dgm:pt modelId="{BB4EF2ED-4BB7-4450-81F5-DDC2A2CE8B08}" type="pres">
      <dgm:prSet presAssocID="{D6ED2971-6D42-4425-85A1-614D22BAB2E5}" presName="square" presStyleLbl="alignNode1" presStyleIdx="7" presStyleCnt="12"/>
      <dgm:spPr/>
    </dgm:pt>
    <dgm:pt modelId="{6D8D533F-6F7A-4D67-ACA6-D2CF39DF6834}" type="pres">
      <dgm:prSet presAssocID="{D6ED2971-6D42-4425-85A1-614D22BAB2E5}" presName="txLvl2" presStyleLbl="revTx" presStyleIdx="7" presStyleCnt="12"/>
      <dgm:spPr/>
    </dgm:pt>
    <dgm:pt modelId="{78597477-A321-4F23-9485-6C0CAF4D9740}" type="pres">
      <dgm:prSet presAssocID="{0BFC7983-B561-4C4A-A69C-6D23B1A01810}" presName="space" presStyleCnt="0"/>
      <dgm:spPr/>
    </dgm:pt>
    <dgm:pt modelId="{3357DAA5-6FCE-4010-AFC4-061C9CFBA314}" type="pres">
      <dgm:prSet presAssocID="{88E841CF-01DA-439D-926E-9D9BE433561D}" presName="composite" presStyleCnt="0"/>
      <dgm:spPr/>
    </dgm:pt>
    <dgm:pt modelId="{9A81DEE1-2736-4E00-8FFE-BFDEECDA2D26}" type="pres">
      <dgm:prSet presAssocID="{88E841CF-01DA-439D-926E-9D9BE433561D}" presName="background" presStyleLbl="revTx" presStyleIdx="8" presStyleCnt="12"/>
      <dgm:spPr/>
    </dgm:pt>
    <dgm:pt modelId="{60A4F703-AE08-41B4-9E63-869505154997}" type="pres">
      <dgm:prSet presAssocID="{88E841CF-01DA-439D-926E-9D9BE433561D}" presName="txLvl1" presStyleLbl="alignNode1" presStyleIdx="8" presStyleCnt="12"/>
      <dgm:spPr/>
    </dgm:pt>
    <dgm:pt modelId="{FDA1E9B5-9107-46AF-B169-D98FC6BFF0D2}" type="pres">
      <dgm:prSet presAssocID="{88E841CF-01DA-439D-926E-9D9BE433561D}" presName="lin" presStyleCnt="0"/>
      <dgm:spPr/>
    </dgm:pt>
    <dgm:pt modelId="{9118BB27-90B5-4DAF-AF1E-B9AB9686F33B}" type="pres">
      <dgm:prSet presAssocID="{13A8598E-0624-4FB9-91CD-68AE606F4216}" presName="innerLin" presStyleCnt="0"/>
      <dgm:spPr/>
    </dgm:pt>
    <dgm:pt modelId="{69D93163-235A-4AA7-8E97-81BAE0CB0A0D}" type="pres">
      <dgm:prSet presAssocID="{13A8598E-0624-4FB9-91CD-68AE606F4216}" presName="square" presStyleLbl="alignNode1" presStyleIdx="9" presStyleCnt="12"/>
      <dgm:spPr/>
    </dgm:pt>
    <dgm:pt modelId="{7F4998AE-3525-4F97-8641-78BC363FDB7A}" type="pres">
      <dgm:prSet presAssocID="{13A8598E-0624-4FB9-91CD-68AE606F4216}" presName="txLvl2" presStyleLbl="revTx" presStyleIdx="9" presStyleCnt="12"/>
      <dgm:spPr/>
    </dgm:pt>
    <dgm:pt modelId="{5286A28D-B70A-4526-9EC3-76FCD583FD41}" type="pres">
      <dgm:prSet presAssocID="{2F432F05-BC11-4A35-9D1F-C8B56D44E244}" presName="innerSpace" presStyleCnt="0"/>
      <dgm:spPr/>
    </dgm:pt>
    <dgm:pt modelId="{A7D3CB16-A3EE-4EBE-9D7C-0BE656231FA9}" type="pres">
      <dgm:prSet presAssocID="{C59DC4DA-93F9-4214-A9CB-45E6CF0BD86B}" presName="innerLin" presStyleCnt="0"/>
      <dgm:spPr/>
    </dgm:pt>
    <dgm:pt modelId="{1AFC2A38-1435-4B8A-AC08-4306718DD5FB}" type="pres">
      <dgm:prSet presAssocID="{C59DC4DA-93F9-4214-A9CB-45E6CF0BD86B}" presName="square" presStyleLbl="alignNode1" presStyleIdx="10" presStyleCnt="12"/>
      <dgm:spPr/>
    </dgm:pt>
    <dgm:pt modelId="{A021C2CC-D719-46C8-839C-ACBC3C9F8C0D}" type="pres">
      <dgm:prSet presAssocID="{C59DC4DA-93F9-4214-A9CB-45E6CF0BD86B}" presName="txLvl2" presStyleLbl="revTx" presStyleIdx="10" presStyleCnt="12"/>
      <dgm:spPr/>
    </dgm:pt>
    <dgm:pt modelId="{E2892283-009F-4687-BBE6-F21B5163452B}" type="pres">
      <dgm:prSet presAssocID="{16933660-E66B-4B32-A2A6-B52B518548A6}" presName="space" presStyleCnt="0"/>
      <dgm:spPr/>
    </dgm:pt>
    <dgm:pt modelId="{D35B35A5-EE90-47D1-9465-B3E9086B356B}" type="pres">
      <dgm:prSet presAssocID="{03760581-3077-46CC-A047-044CCB08DE09}" presName="composite" presStyleCnt="0"/>
      <dgm:spPr/>
    </dgm:pt>
    <dgm:pt modelId="{2BD4F195-137F-42F9-A1DA-1CA82C3F158D}" type="pres">
      <dgm:prSet presAssocID="{03760581-3077-46CC-A047-044CCB08DE09}" presName="background" presStyleLbl="revTx" presStyleIdx="11" presStyleCnt="12"/>
      <dgm:spPr/>
    </dgm:pt>
    <dgm:pt modelId="{B9C87496-D0F6-4B09-BFF2-A2B327A006A8}" type="pres">
      <dgm:prSet presAssocID="{03760581-3077-46CC-A047-044CCB08DE09}" presName="txLvl1" presStyleLbl="alignNode1" presStyleIdx="11" presStyleCnt="12"/>
      <dgm:spPr/>
    </dgm:pt>
    <dgm:pt modelId="{9EA5AAF7-1B9C-47A7-B1F5-96160C009039}" type="pres">
      <dgm:prSet presAssocID="{03760581-3077-46CC-A047-044CCB08DE09}" presName="lin" presStyleCnt="0"/>
      <dgm:spPr/>
    </dgm:pt>
  </dgm:ptLst>
  <dgm:cxnLst>
    <dgm:cxn modelId="{EAEDC101-C8B8-462B-BFC4-5D1DCCB77779}" srcId="{25AF61FF-CD3F-4320-9644-1A666005F5D3}" destId="{03760581-3077-46CC-A047-044CCB08DE09}" srcOrd="3" destOrd="0" parTransId="{79C83EEF-06A9-4255-A205-C8C7C3327A8E}" sibTransId="{AF58A036-82F8-45CD-8F80-83AC587796CD}"/>
    <dgm:cxn modelId="{FF928B09-F5E8-42B1-BC06-C0F1E20C56F2}" srcId="{88E841CF-01DA-439D-926E-9D9BE433561D}" destId="{C59DC4DA-93F9-4214-A9CB-45E6CF0BD86B}" srcOrd="1" destOrd="0" parTransId="{AED9F8B4-34EF-4AC4-B711-D3AB199C5A8F}" sibTransId="{0BEA8993-0972-4AA4-8DDF-E611D4469064}"/>
    <dgm:cxn modelId="{D608D618-152A-4960-B5E8-3992B82248A5}" type="presOf" srcId="{88E841CF-01DA-439D-926E-9D9BE433561D}" destId="{60A4F703-AE08-41B4-9E63-869505154997}" srcOrd="0" destOrd="0" presId="urn:madeinoffice.com/office/officeart/2005/8/layout/ProzessketteMitTextboxenUnterhalb"/>
    <dgm:cxn modelId="{ACCADA19-51C7-44D2-B483-A162AEB72186}" type="presOf" srcId="{A3B944DE-23A4-44C1-980E-09A42B5B8860}" destId="{F1069177-A7AD-4B96-9C82-933B0EFEC5B1}" srcOrd="0" destOrd="0" presId="urn:madeinoffice.com/office/officeart/2005/8/layout/ProzessketteMitTextboxenUnterhalb"/>
    <dgm:cxn modelId="{5A453026-6629-4DE7-8BC5-E7B7D98E0B8D}" srcId="{7401B0DE-61BF-4A88-BB5B-B392E0E49FB6}" destId="{D6ED2971-6D42-4425-85A1-614D22BAB2E5}" srcOrd="3" destOrd="0" parTransId="{765AD8F4-E71A-4D90-B9D8-B3043D7C6BD7}" sibTransId="{C3E44D1A-EC69-4F4C-B513-DF8A7BD3E8F3}"/>
    <dgm:cxn modelId="{4947AB2B-E090-4A5C-972E-AEA89CC334A5}" srcId="{7401B0DE-61BF-4A88-BB5B-B392E0E49FB6}" destId="{1D88034A-4C78-4928-BB91-7A38A6AD0A74}" srcOrd="2" destOrd="0" parTransId="{B5D6E227-EE29-4E11-B28C-C915C9D2940D}" sibTransId="{A517A3F1-ED74-4FFA-9E10-2F34AF43F1EC}"/>
    <dgm:cxn modelId="{1F393738-3E8F-42E0-A8F5-24F4E132D2FA}" srcId="{7401B0DE-61BF-4A88-BB5B-B392E0E49FB6}" destId="{589A1FC3-BFD8-4A0E-ADAF-6FE60C73F018}" srcOrd="0" destOrd="0" parTransId="{3A39BAAF-F505-4013-A509-C21F50B4A0F8}" sibTransId="{95972418-F57C-4C27-8440-DB266D1228D0}"/>
    <dgm:cxn modelId="{2DB20E42-6981-4474-82C9-8D7EE771A346}" type="presOf" srcId="{98F2F1A7-4A47-4E17-AB3A-363BE2C2C135}" destId="{C6674ABF-D6CA-460F-9513-36418065EBD7}" srcOrd="0" destOrd="0" presId="urn:madeinoffice.com/office/officeart/2005/8/layout/ProzessketteMitTextboxenUnterhalb"/>
    <dgm:cxn modelId="{AAEFFE64-396B-431F-BAFC-A96F2351CD58}" type="presOf" srcId="{D6ED2971-6D42-4425-85A1-614D22BAB2E5}" destId="{6D8D533F-6F7A-4D67-ACA6-D2CF39DF6834}" srcOrd="0" destOrd="0" presId="urn:madeinoffice.com/office/officeart/2005/8/layout/ProzessketteMitTextboxenUnterhalb"/>
    <dgm:cxn modelId="{388CF970-3B92-4B2F-8AA0-619F35A5AA25}" type="presOf" srcId="{25AF61FF-CD3F-4320-9644-1A666005F5D3}" destId="{85983522-54B0-41CC-BE51-EE1131B3765A}" srcOrd="0" destOrd="0" presId="urn:madeinoffice.com/office/officeart/2005/8/layout/ProzessketteMitTextboxenUnterhalb"/>
    <dgm:cxn modelId="{77FE9251-A7CD-4149-B518-4F6D367BACA4}" type="presOf" srcId="{1D88034A-4C78-4928-BB91-7A38A6AD0A74}" destId="{D7ACFF19-40E9-428A-B4C4-0B4D2E78B3A5}" srcOrd="0" destOrd="0" presId="urn:madeinoffice.com/office/officeart/2005/8/layout/ProzessketteMitTextboxenUnterhalb"/>
    <dgm:cxn modelId="{79096581-8CD0-4586-8B07-BB67E608915F}" type="presOf" srcId="{589A1FC3-BFD8-4A0E-ADAF-6FE60C73F018}" destId="{03BCE79E-19A3-4D8C-960B-CA7DB00C5AE4}" srcOrd="0" destOrd="0" presId="urn:madeinoffice.com/office/officeart/2005/8/layout/ProzessketteMitTextboxenUnterhalb"/>
    <dgm:cxn modelId="{DA452D8B-2839-4170-8445-96F896BA4F19}" type="presOf" srcId="{5ACF19B5-E364-4396-9C9F-0C6F6678B543}" destId="{A94118BB-20C7-45DD-8142-C87ABB4823AA}" srcOrd="0" destOrd="0" presId="urn:madeinoffice.com/office/officeart/2005/8/layout/ProzessketteMitTextboxenUnterhalb"/>
    <dgm:cxn modelId="{18E7B38B-4E1F-45DF-B268-1D0E239D25F9}" type="presOf" srcId="{13A8598E-0624-4FB9-91CD-68AE606F4216}" destId="{7F4998AE-3525-4F97-8641-78BC363FDB7A}" srcOrd="0" destOrd="0" presId="urn:madeinoffice.com/office/officeart/2005/8/layout/ProzessketteMitTextboxenUnterhalb"/>
    <dgm:cxn modelId="{0D93F18E-4FB1-483B-9C2D-B81727BC5BC1}" type="presOf" srcId="{7401B0DE-61BF-4A88-BB5B-B392E0E49FB6}" destId="{B1207ED9-5F09-4652-BFF5-169BE9A57372}" srcOrd="0" destOrd="0" presId="urn:madeinoffice.com/office/officeart/2005/8/layout/ProzessketteMitTextboxenUnterhalb"/>
    <dgm:cxn modelId="{8BDC8791-C7DC-48EB-AE2B-C3D73347034E}" srcId="{98F2F1A7-4A47-4E17-AB3A-363BE2C2C135}" destId="{64ED7F40-5AA2-456C-83D8-70D4068E4A66}" srcOrd="0" destOrd="0" parTransId="{A11D4BC6-DCFC-42CE-8F2D-5D526E48A5CE}" sibTransId="{FE33E613-6E3A-45C8-B821-C76A6881D16A}"/>
    <dgm:cxn modelId="{22E1B4A4-995E-4E0F-811F-3D137C54DABA}" type="presOf" srcId="{64ED7F40-5AA2-456C-83D8-70D4068E4A66}" destId="{745F8DD8-E5E1-4A4E-9516-F2B9D7FCFD6F}" srcOrd="0" destOrd="0" presId="urn:madeinoffice.com/office/officeart/2005/8/layout/ProzessketteMitTextboxenUnterhalb"/>
    <dgm:cxn modelId="{AA03D7A4-8B06-446B-97D2-A5BEAA155443}" srcId="{25AF61FF-CD3F-4320-9644-1A666005F5D3}" destId="{7401B0DE-61BF-4A88-BB5B-B392E0E49FB6}" srcOrd="1" destOrd="0" parTransId="{F84B43F1-7255-4C67-9996-27C0C5A4B06D}" sibTransId="{0BFC7983-B561-4C4A-A69C-6D23B1A01810}"/>
    <dgm:cxn modelId="{9B7681B1-DB26-4516-B890-902C51C2897C}" srcId="{7401B0DE-61BF-4A88-BB5B-B392E0E49FB6}" destId="{A3B944DE-23A4-44C1-980E-09A42B5B8860}" srcOrd="1" destOrd="0" parTransId="{40AC23C9-6406-4482-9607-6FC9B5AC5450}" sibTransId="{969110F3-28A2-4DEC-BE88-F2940F15FD37}"/>
    <dgm:cxn modelId="{F9C773B4-0458-4640-B278-85BBA57855FA}" srcId="{98F2F1A7-4A47-4E17-AB3A-363BE2C2C135}" destId="{5ACF19B5-E364-4396-9C9F-0C6F6678B543}" srcOrd="1" destOrd="0" parTransId="{5C011B18-62E2-41D3-9672-24E5251FE749}" sibTransId="{017DA7CA-48AC-4AE3-B206-FDD51FB11C4F}"/>
    <dgm:cxn modelId="{6285F0BC-D552-4056-AF2A-6CE18EAAA8E9}" srcId="{25AF61FF-CD3F-4320-9644-1A666005F5D3}" destId="{98F2F1A7-4A47-4E17-AB3A-363BE2C2C135}" srcOrd="0" destOrd="0" parTransId="{E8F90E9B-F257-4A21-B73C-4532CEC821F5}" sibTransId="{A40B4662-56EA-4825-9EB3-7887EA865A14}"/>
    <dgm:cxn modelId="{CC666AC0-D428-4DEB-AB1E-3F2EA711182B}" srcId="{88E841CF-01DA-439D-926E-9D9BE433561D}" destId="{13A8598E-0624-4FB9-91CD-68AE606F4216}" srcOrd="0" destOrd="0" parTransId="{7D64BF9E-CBE1-40EC-8DA7-7E79B9F3BB32}" sibTransId="{2F432F05-BC11-4A35-9D1F-C8B56D44E244}"/>
    <dgm:cxn modelId="{47ADCDCB-9469-437F-971D-9A7847876B77}" type="presOf" srcId="{03760581-3077-46CC-A047-044CCB08DE09}" destId="{B9C87496-D0F6-4B09-BFF2-A2B327A006A8}" srcOrd="0" destOrd="0" presId="urn:madeinoffice.com/office/officeart/2005/8/layout/ProzessketteMitTextboxenUnterhalb"/>
    <dgm:cxn modelId="{E4127CF1-9027-4FCD-9C8F-C2E029AFE82C}" srcId="{25AF61FF-CD3F-4320-9644-1A666005F5D3}" destId="{88E841CF-01DA-439D-926E-9D9BE433561D}" srcOrd="2" destOrd="0" parTransId="{644F8D59-76EC-4427-9905-9B671492A068}" sibTransId="{16933660-E66B-4B32-A2A6-B52B518548A6}"/>
    <dgm:cxn modelId="{528AFAF1-6840-4520-BE76-823D556D0A71}" type="presOf" srcId="{C59DC4DA-93F9-4214-A9CB-45E6CF0BD86B}" destId="{A021C2CC-D719-46C8-839C-ACBC3C9F8C0D}" srcOrd="0" destOrd="0" presId="urn:madeinoffice.com/office/officeart/2005/8/layout/ProzessketteMitTextboxenUnterhalb"/>
    <dgm:cxn modelId="{09AD4F92-C66E-40CE-BBE5-CD54BEC5699A}" type="presParOf" srcId="{85983522-54B0-41CC-BE51-EE1131B3765A}" destId="{17F95ADE-5631-46E2-BFF1-371060555B64}" srcOrd="0" destOrd="0" presId="urn:madeinoffice.com/office/officeart/2005/8/layout/ProzessketteMitTextboxenUnterhalb"/>
    <dgm:cxn modelId="{D4553668-4769-44CF-A239-5F0C94EF40F4}" type="presParOf" srcId="{17F95ADE-5631-46E2-BFF1-371060555B64}" destId="{A1C5A853-5050-41EA-ACF1-F275E495773E}" srcOrd="0" destOrd="0" presId="urn:madeinoffice.com/office/officeart/2005/8/layout/ProzessketteMitTextboxenUnterhalb"/>
    <dgm:cxn modelId="{07C0ED78-44EE-4D9E-A311-8FBB0E88689A}" type="presParOf" srcId="{17F95ADE-5631-46E2-BFF1-371060555B64}" destId="{C6674ABF-D6CA-460F-9513-36418065EBD7}" srcOrd="1" destOrd="0" presId="urn:madeinoffice.com/office/officeart/2005/8/layout/ProzessketteMitTextboxenUnterhalb"/>
    <dgm:cxn modelId="{74539A51-4277-47D6-84D7-06E17D924895}" type="presParOf" srcId="{17F95ADE-5631-46E2-BFF1-371060555B64}" destId="{9B7DC6E4-8254-45C3-B58B-7550C50C724F}" srcOrd="2" destOrd="0" presId="urn:madeinoffice.com/office/officeart/2005/8/layout/ProzessketteMitTextboxenUnterhalb"/>
    <dgm:cxn modelId="{73DC9EB1-8FB5-42E9-8D93-4A6066BABDED}" type="presParOf" srcId="{9B7DC6E4-8254-45C3-B58B-7550C50C724F}" destId="{4E02B19F-7D30-4141-BFC4-97404A2B6501}" srcOrd="0" destOrd="0" presId="urn:madeinoffice.com/office/officeart/2005/8/layout/ProzessketteMitTextboxenUnterhalb"/>
    <dgm:cxn modelId="{E09CDCBF-E0D0-4841-B071-92D5A320886B}" type="presParOf" srcId="{4E02B19F-7D30-4141-BFC4-97404A2B6501}" destId="{5C4FC227-0F1C-4CEF-8ABC-14547FF5B28E}" srcOrd="0" destOrd="0" presId="urn:madeinoffice.com/office/officeart/2005/8/layout/ProzessketteMitTextboxenUnterhalb"/>
    <dgm:cxn modelId="{31AD2198-FDBC-48EE-81F6-0C95414C2C35}" type="presParOf" srcId="{4E02B19F-7D30-4141-BFC4-97404A2B6501}" destId="{745F8DD8-E5E1-4A4E-9516-F2B9D7FCFD6F}" srcOrd="1" destOrd="0" presId="urn:madeinoffice.com/office/officeart/2005/8/layout/ProzessketteMitTextboxenUnterhalb"/>
    <dgm:cxn modelId="{2A182FC7-FE81-4248-BE97-ACDFF8E58662}" type="presParOf" srcId="{9B7DC6E4-8254-45C3-B58B-7550C50C724F}" destId="{F6D1C2DE-608F-4540-93CF-00DF49EF9000}" srcOrd="1" destOrd="0" presId="urn:madeinoffice.com/office/officeart/2005/8/layout/ProzessketteMitTextboxenUnterhalb"/>
    <dgm:cxn modelId="{25F24E9F-3C32-4EC0-AAFC-EAB3A14AFC71}" type="presParOf" srcId="{9B7DC6E4-8254-45C3-B58B-7550C50C724F}" destId="{F026FD45-113A-48F1-9B17-33027E643750}" srcOrd="2" destOrd="0" presId="urn:madeinoffice.com/office/officeart/2005/8/layout/ProzessketteMitTextboxenUnterhalb"/>
    <dgm:cxn modelId="{7A820966-9269-49F9-840C-B6C118150BEC}" type="presParOf" srcId="{F026FD45-113A-48F1-9B17-33027E643750}" destId="{45EACF86-C495-4806-A52E-36FEA7811285}" srcOrd="0" destOrd="0" presId="urn:madeinoffice.com/office/officeart/2005/8/layout/ProzessketteMitTextboxenUnterhalb"/>
    <dgm:cxn modelId="{F0D2EB7C-9931-4987-84D5-598D8B018328}" type="presParOf" srcId="{F026FD45-113A-48F1-9B17-33027E643750}" destId="{A94118BB-20C7-45DD-8142-C87ABB4823AA}" srcOrd="1" destOrd="0" presId="urn:madeinoffice.com/office/officeart/2005/8/layout/ProzessketteMitTextboxenUnterhalb"/>
    <dgm:cxn modelId="{0A65E079-C4ED-4822-A587-8E5D603F625E}" type="presParOf" srcId="{85983522-54B0-41CC-BE51-EE1131B3765A}" destId="{53F64890-D2B8-444E-A483-DADD463175CC}" srcOrd="1" destOrd="0" presId="urn:madeinoffice.com/office/officeart/2005/8/layout/ProzessketteMitTextboxenUnterhalb"/>
    <dgm:cxn modelId="{AA4BB32C-AC71-4011-87BA-6CE8C4FE91D9}" type="presParOf" srcId="{85983522-54B0-41CC-BE51-EE1131B3765A}" destId="{C2864478-2CF3-4603-B8A5-CF48FD770C7D}" srcOrd="2" destOrd="0" presId="urn:madeinoffice.com/office/officeart/2005/8/layout/ProzessketteMitTextboxenUnterhalb"/>
    <dgm:cxn modelId="{759E6C0D-9DFF-4732-9494-DD0A65CCEC6D}" type="presParOf" srcId="{C2864478-2CF3-4603-B8A5-CF48FD770C7D}" destId="{D6810DCB-A642-4571-A83A-FAEF5C5E7078}" srcOrd="0" destOrd="0" presId="urn:madeinoffice.com/office/officeart/2005/8/layout/ProzessketteMitTextboxenUnterhalb"/>
    <dgm:cxn modelId="{D91C69A0-476D-43F6-9C82-05790A1519E2}" type="presParOf" srcId="{C2864478-2CF3-4603-B8A5-CF48FD770C7D}" destId="{B1207ED9-5F09-4652-BFF5-169BE9A57372}" srcOrd="1" destOrd="0" presId="urn:madeinoffice.com/office/officeart/2005/8/layout/ProzessketteMitTextboxenUnterhalb"/>
    <dgm:cxn modelId="{CCD2986E-BC41-4631-8152-16D7B0BDCF03}" type="presParOf" srcId="{C2864478-2CF3-4603-B8A5-CF48FD770C7D}" destId="{2268A8CE-8192-44A5-B183-A073ECAA38A5}" srcOrd="2" destOrd="0" presId="urn:madeinoffice.com/office/officeart/2005/8/layout/ProzessketteMitTextboxenUnterhalb"/>
    <dgm:cxn modelId="{8B15A5F8-2458-4F22-96C6-4ADA9E28382C}" type="presParOf" srcId="{2268A8CE-8192-44A5-B183-A073ECAA38A5}" destId="{6A762ED2-F01B-4FF7-BC03-BD36CE1C5C63}" srcOrd="0" destOrd="0" presId="urn:madeinoffice.com/office/officeart/2005/8/layout/ProzessketteMitTextboxenUnterhalb"/>
    <dgm:cxn modelId="{F3A8C80A-9130-4405-9F7D-A4EBE8EE05AC}" type="presParOf" srcId="{6A762ED2-F01B-4FF7-BC03-BD36CE1C5C63}" destId="{71E3D0DB-5CEC-400D-BB3C-BA4453200D87}" srcOrd="0" destOrd="0" presId="urn:madeinoffice.com/office/officeart/2005/8/layout/ProzessketteMitTextboxenUnterhalb"/>
    <dgm:cxn modelId="{596E41C7-6C20-44A9-A12D-DB18F61478D5}" type="presParOf" srcId="{6A762ED2-F01B-4FF7-BC03-BD36CE1C5C63}" destId="{03BCE79E-19A3-4D8C-960B-CA7DB00C5AE4}" srcOrd="1" destOrd="0" presId="urn:madeinoffice.com/office/officeart/2005/8/layout/ProzessketteMitTextboxenUnterhalb"/>
    <dgm:cxn modelId="{4340ECA1-8CFA-408B-BFC4-E10CC548A250}" type="presParOf" srcId="{2268A8CE-8192-44A5-B183-A073ECAA38A5}" destId="{379734FE-23D7-4F06-B1FF-812EE57861F0}" srcOrd="1" destOrd="0" presId="urn:madeinoffice.com/office/officeart/2005/8/layout/ProzessketteMitTextboxenUnterhalb"/>
    <dgm:cxn modelId="{8D8FC57A-0917-448A-8173-CC0925B0F3B1}" type="presParOf" srcId="{2268A8CE-8192-44A5-B183-A073ECAA38A5}" destId="{9A39F83B-1622-4942-93A1-1C7D030CF987}" srcOrd="2" destOrd="0" presId="urn:madeinoffice.com/office/officeart/2005/8/layout/ProzessketteMitTextboxenUnterhalb"/>
    <dgm:cxn modelId="{CCECE405-A8E4-48A1-A657-3C36A604F5CE}" type="presParOf" srcId="{9A39F83B-1622-4942-93A1-1C7D030CF987}" destId="{8A0A0400-8AE2-47BE-8145-41AE60A88AE4}" srcOrd="0" destOrd="0" presId="urn:madeinoffice.com/office/officeart/2005/8/layout/ProzessketteMitTextboxenUnterhalb"/>
    <dgm:cxn modelId="{6F094AE8-A63D-47E3-A006-FDDE44D15046}" type="presParOf" srcId="{9A39F83B-1622-4942-93A1-1C7D030CF987}" destId="{F1069177-A7AD-4B96-9C82-933B0EFEC5B1}" srcOrd="1" destOrd="0" presId="urn:madeinoffice.com/office/officeart/2005/8/layout/ProzessketteMitTextboxenUnterhalb"/>
    <dgm:cxn modelId="{70007839-0E7D-4C92-BEE0-0D10E70D114E}" type="presParOf" srcId="{2268A8CE-8192-44A5-B183-A073ECAA38A5}" destId="{EFF4897E-1846-46AC-B4E9-2E3ACF702459}" srcOrd="3" destOrd="0" presId="urn:madeinoffice.com/office/officeart/2005/8/layout/ProzessketteMitTextboxenUnterhalb"/>
    <dgm:cxn modelId="{BE4BC601-425F-42BD-AEAF-322C5F433118}" type="presParOf" srcId="{2268A8CE-8192-44A5-B183-A073ECAA38A5}" destId="{CB8038BD-180F-4CF2-A930-8D9A53F636BA}" srcOrd="4" destOrd="0" presId="urn:madeinoffice.com/office/officeart/2005/8/layout/ProzessketteMitTextboxenUnterhalb"/>
    <dgm:cxn modelId="{1982C728-6824-4639-A49E-1BBEF0477778}" type="presParOf" srcId="{CB8038BD-180F-4CF2-A930-8D9A53F636BA}" destId="{CF05CDD1-A50E-491D-AE92-D50189BE6975}" srcOrd="0" destOrd="0" presId="urn:madeinoffice.com/office/officeart/2005/8/layout/ProzessketteMitTextboxenUnterhalb"/>
    <dgm:cxn modelId="{C75262A5-E4E7-4681-A10D-A2F1AC06A1B8}" type="presParOf" srcId="{CB8038BD-180F-4CF2-A930-8D9A53F636BA}" destId="{D7ACFF19-40E9-428A-B4C4-0B4D2E78B3A5}" srcOrd="1" destOrd="0" presId="urn:madeinoffice.com/office/officeart/2005/8/layout/ProzessketteMitTextboxenUnterhalb"/>
    <dgm:cxn modelId="{FA0275A9-1481-4B16-9A9C-B6504E7A3676}" type="presParOf" srcId="{2268A8CE-8192-44A5-B183-A073ECAA38A5}" destId="{3B15203B-49FD-428E-8079-A214BC045333}" srcOrd="5" destOrd="0" presId="urn:madeinoffice.com/office/officeart/2005/8/layout/ProzessketteMitTextboxenUnterhalb"/>
    <dgm:cxn modelId="{23786531-1039-4C07-8842-9938CE507ECB}" type="presParOf" srcId="{2268A8CE-8192-44A5-B183-A073ECAA38A5}" destId="{D4E1FF25-6650-4C30-8700-AAD79145299F}" srcOrd="6" destOrd="0" presId="urn:madeinoffice.com/office/officeart/2005/8/layout/ProzessketteMitTextboxenUnterhalb"/>
    <dgm:cxn modelId="{2931A9DA-AD42-4B8C-83D3-0692E3709A38}" type="presParOf" srcId="{D4E1FF25-6650-4C30-8700-AAD79145299F}" destId="{BB4EF2ED-4BB7-4450-81F5-DDC2A2CE8B08}" srcOrd="0" destOrd="0" presId="urn:madeinoffice.com/office/officeart/2005/8/layout/ProzessketteMitTextboxenUnterhalb"/>
    <dgm:cxn modelId="{9D8A3367-64C4-4357-BA88-5BEB1976F647}" type="presParOf" srcId="{D4E1FF25-6650-4C30-8700-AAD79145299F}" destId="{6D8D533F-6F7A-4D67-ACA6-D2CF39DF6834}" srcOrd="1" destOrd="0" presId="urn:madeinoffice.com/office/officeart/2005/8/layout/ProzessketteMitTextboxenUnterhalb"/>
    <dgm:cxn modelId="{21423924-B852-47C1-B1A3-2FB907F9D153}" type="presParOf" srcId="{85983522-54B0-41CC-BE51-EE1131B3765A}" destId="{78597477-A321-4F23-9485-6C0CAF4D9740}" srcOrd="3" destOrd="0" presId="urn:madeinoffice.com/office/officeart/2005/8/layout/ProzessketteMitTextboxenUnterhalb"/>
    <dgm:cxn modelId="{2CA5827D-6AF1-4F78-8A75-3FD7A714EB45}" type="presParOf" srcId="{85983522-54B0-41CC-BE51-EE1131B3765A}" destId="{3357DAA5-6FCE-4010-AFC4-061C9CFBA314}" srcOrd="4" destOrd="0" presId="urn:madeinoffice.com/office/officeart/2005/8/layout/ProzessketteMitTextboxenUnterhalb"/>
    <dgm:cxn modelId="{C611C9A8-8DE2-477D-8E02-AA4EE0C733EC}" type="presParOf" srcId="{3357DAA5-6FCE-4010-AFC4-061C9CFBA314}" destId="{9A81DEE1-2736-4E00-8FFE-BFDEECDA2D26}" srcOrd="0" destOrd="0" presId="urn:madeinoffice.com/office/officeart/2005/8/layout/ProzessketteMitTextboxenUnterhalb"/>
    <dgm:cxn modelId="{F20F74CB-4C76-49B4-BB95-1FB49E25B80E}" type="presParOf" srcId="{3357DAA5-6FCE-4010-AFC4-061C9CFBA314}" destId="{60A4F703-AE08-41B4-9E63-869505154997}" srcOrd="1" destOrd="0" presId="urn:madeinoffice.com/office/officeart/2005/8/layout/ProzessketteMitTextboxenUnterhalb"/>
    <dgm:cxn modelId="{5727D5BD-A0FE-453E-930F-D96B69DAFCBE}" type="presParOf" srcId="{3357DAA5-6FCE-4010-AFC4-061C9CFBA314}" destId="{FDA1E9B5-9107-46AF-B169-D98FC6BFF0D2}" srcOrd="2" destOrd="0" presId="urn:madeinoffice.com/office/officeart/2005/8/layout/ProzessketteMitTextboxenUnterhalb"/>
    <dgm:cxn modelId="{455C4A78-25F9-42FF-B7A3-AA383A9C7EF5}" type="presParOf" srcId="{FDA1E9B5-9107-46AF-B169-D98FC6BFF0D2}" destId="{9118BB27-90B5-4DAF-AF1E-B9AB9686F33B}" srcOrd="0" destOrd="0" presId="urn:madeinoffice.com/office/officeart/2005/8/layout/ProzessketteMitTextboxenUnterhalb"/>
    <dgm:cxn modelId="{9ACBAD89-2786-45DC-97BD-A68B096621B5}" type="presParOf" srcId="{9118BB27-90B5-4DAF-AF1E-B9AB9686F33B}" destId="{69D93163-235A-4AA7-8E97-81BAE0CB0A0D}" srcOrd="0" destOrd="0" presId="urn:madeinoffice.com/office/officeart/2005/8/layout/ProzessketteMitTextboxenUnterhalb"/>
    <dgm:cxn modelId="{5930EF6A-A54A-4B47-B08A-0BF224F0E4E9}" type="presParOf" srcId="{9118BB27-90B5-4DAF-AF1E-B9AB9686F33B}" destId="{7F4998AE-3525-4F97-8641-78BC363FDB7A}" srcOrd="1" destOrd="0" presId="urn:madeinoffice.com/office/officeart/2005/8/layout/ProzessketteMitTextboxenUnterhalb"/>
    <dgm:cxn modelId="{C8C080B4-678E-4D66-AADB-7C555F21A9F5}" type="presParOf" srcId="{FDA1E9B5-9107-46AF-B169-D98FC6BFF0D2}" destId="{5286A28D-B70A-4526-9EC3-76FCD583FD41}" srcOrd="1" destOrd="0" presId="urn:madeinoffice.com/office/officeart/2005/8/layout/ProzessketteMitTextboxenUnterhalb"/>
    <dgm:cxn modelId="{40AF6551-582D-4D3D-BDA6-7A17C2293484}" type="presParOf" srcId="{FDA1E9B5-9107-46AF-B169-D98FC6BFF0D2}" destId="{A7D3CB16-A3EE-4EBE-9D7C-0BE656231FA9}" srcOrd="2" destOrd="0" presId="urn:madeinoffice.com/office/officeart/2005/8/layout/ProzessketteMitTextboxenUnterhalb"/>
    <dgm:cxn modelId="{3651B57A-001E-49A9-B060-3366D8F9B040}" type="presParOf" srcId="{A7D3CB16-A3EE-4EBE-9D7C-0BE656231FA9}" destId="{1AFC2A38-1435-4B8A-AC08-4306718DD5FB}" srcOrd="0" destOrd="0" presId="urn:madeinoffice.com/office/officeart/2005/8/layout/ProzessketteMitTextboxenUnterhalb"/>
    <dgm:cxn modelId="{94529B1C-EF3F-4794-9338-EE0C5D79A389}" type="presParOf" srcId="{A7D3CB16-A3EE-4EBE-9D7C-0BE656231FA9}" destId="{A021C2CC-D719-46C8-839C-ACBC3C9F8C0D}" srcOrd="1" destOrd="0" presId="urn:madeinoffice.com/office/officeart/2005/8/layout/ProzessketteMitTextboxenUnterhalb"/>
    <dgm:cxn modelId="{9077E819-D1D4-475C-985F-D1D1545A2782}" type="presParOf" srcId="{85983522-54B0-41CC-BE51-EE1131B3765A}" destId="{E2892283-009F-4687-BBE6-F21B5163452B}" srcOrd="5" destOrd="0" presId="urn:madeinoffice.com/office/officeart/2005/8/layout/ProzessketteMitTextboxenUnterhalb"/>
    <dgm:cxn modelId="{AE0D64A4-6E32-4471-99BD-5FA20ED031CA}" type="presParOf" srcId="{85983522-54B0-41CC-BE51-EE1131B3765A}" destId="{D35B35A5-EE90-47D1-9465-B3E9086B356B}" srcOrd="6" destOrd="0" presId="urn:madeinoffice.com/office/officeart/2005/8/layout/ProzessketteMitTextboxenUnterhalb"/>
    <dgm:cxn modelId="{F099CECA-BDF6-45F0-BD23-4F662C0ACF63}" type="presParOf" srcId="{D35B35A5-EE90-47D1-9465-B3E9086B356B}" destId="{2BD4F195-137F-42F9-A1DA-1CA82C3F158D}" srcOrd="0" destOrd="0" presId="urn:madeinoffice.com/office/officeart/2005/8/layout/ProzessketteMitTextboxenUnterhalb"/>
    <dgm:cxn modelId="{A04EB328-9B95-4B6D-9577-D9308A222909}" type="presParOf" srcId="{D35B35A5-EE90-47D1-9465-B3E9086B356B}" destId="{B9C87496-D0F6-4B09-BFF2-A2B327A006A8}" srcOrd="1" destOrd="0" presId="urn:madeinoffice.com/office/officeart/2005/8/layout/ProzessketteMitTextboxenUnterhalb"/>
    <dgm:cxn modelId="{BEC8365B-91A6-4708-8B75-CE6853DF63A2}" type="presParOf" srcId="{D35B35A5-EE90-47D1-9465-B3E9086B356B}" destId="{9EA5AAF7-1B9C-47A7-B1F5-96160C009039}" srcOrd="2" destOrd="0" presId="urn:madeinoffice.com/office/officeart/2005/8/layout/ProzessketteMitTextboxenUnterhalb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25AF61FF-CD3F-4320-9644-1A666005F5D3}" type="doc">
      <dgm:prSet loTypeId="urn:madeinoffice.com/office/officeart/2005/8/layout/ProzessketteMitTextboxenUnterhalb" loCatId="other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98F2F1A7-4A47-4E17-AB3A-363BE2C2C135}">
      <dgm:prSet phldrT="[Text]" custT="1"/>
      <dgm:spPr/>
      <dgm:t>
        <a:bodyPr/>
        <a:lstStyle/>
        <a:p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Phase de préparation</a:t>
          </a:r>
        </a:p>
      </dgm:t>
    </dgm:pt>
    <dgm:pt modelId="{E8F90E9B-F257-4A21-B73C-4532CEC821F5}" type="parTrans" cxnId="{6285F0BC-D552-4056-AF2A-6CE18EAAA8E9}">
      <dgm:prSet/>
      <dgm:spPr/>
      <dgm:t>
        <a:bodyPr/>
        <a:lstStyle/>
        <a:p>
          <a:endParaRPr lang="en-US" sz="1400" b="1">
            <a:solidFill>
              <a:schemeClr val="bg1"/>
            </a:solidFill>
            <a:latin typeface="Reem Kufi Regular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A40B4662-56EA-4825-9EB3-7887EA865A14}" type="sibTrans" cxnId="{6285F0BC-D552-4056-AF2A-6CE18EAAA8E9}">
      <dgm:prSet/>
      <dgm:spPr/>
      <dgm:t>
        <a:bodyPr/>
        <a:lstStyle/>
        <a:p>
          <a:endParaRPr lang="en-US" sz="1400" b="1">
            <a:solidFill>
              <a:schemeClr val="bg1"/>
            </a:solidFill>
            <a:latin typeface="Reem Kufi Regular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64ED7F40-5AA2-456C-83D8-70D4068E4A66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Auto-formation aux principes du machine-learning</a:t>
          </a:r>
        </a:p>
      </dgm:t>
    </dgm:pt>
    <dgm:pt modelId="{A11D4BC6-DCFC-42CE-8F2D-5D526E48A5CE}" type="parTrans" cxnId="{8BDC8791-C7DC-48EB-AE2B-C3D73347034E}">
      <dgm:prSet/>
      <dgm:spPr/>
      <dgm:t>
        <a:bodyPr/>
        <a:lstStyle/>
        <a:p>
          <a:endParaRPr lang="fr-FR"/>
        </a:p>
      </dgm:t>
    </dgm:pt>
    <dgm:pt modelId="{FE33E613-6E3A-45C8-B821-C76A6881D16A}" type="sibTrans" cxnId="{8BDC8791-C7DC-48EB-AE2B-C3D73347034E}">
      <dgm:prSet/>
      <dgm:spPr/>
      <dgm:t>
        <a:bodyPr/>
        <a:lstStyle/>
        <a:p>
          <a:endParaRPr lang="fr-FR"/>
        </a:p>
      </dgm:t>
    </dgm:pt>
    <dgm:pt modelId="{03760581-3077-46CC-A047-044CCB08DE09}">
      <dgm:prSet phldrT="[Text]" custT="1"/>
      <dgm:spPr/>
      <dgm:t>
        <a:bodyPr/>
        <a:lstStyle/>
        <a:p>
          <a:pPr algn="ctr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Finalisation du projet</a:t>
          </a:r>
        </a:p>
      </dgm:t>
    </dgm:pt>
    <dgm:pt modelId="{79C83EEF-06A9-4255-A205-C8C7C3327A8E}" type="parTrans" cxnId="{EAEDC101-C8B8-462B-BFC4-5D1DCCB77779}">
      <dgm:prSet/>
      <dgm:spPr/>
      <dgm:t>
        <a:bodyPr/>
        <a:lstStyle/>
        <a:p>
          <a:endParaRPr lang="fr-FR"/>
        </a:p>
      </dgm:t>
    </dgm:pt>
    <dgm:pt modelId="{AF58A036-82F8-45CD-8F80-83AC587796CD}" type="sibTrans" cxnId="{EAEDC101-C8B8-462B-BFC4-5D1DCCB77779}">
      <dgm:prSet/>
      <dgm:spPr/>
      <dgm:t>
        <a:bodyPr/>
        <a:lstStyle/>
        <a:p>
          <a:endParaRPr lang="fr-FR"/>
        </a:p>
      </dgm:t>
    </dgm:pt>
    <dgm:pt modelId="{7401B0DE-61BF-4A88-BB5B-B392E0E49FB6}">
      <dgm:prSet phldrT="[Text]" custT="1"/>
      <dgm:spPr/>
      <dgm:t>
        <a:bodyPr/>
        <a:lstStyle/>
        <a:p>
          <a:pPr algn="ctr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Choix des </a:t>
          </a:r>
          <a:r>
            <a:rPr lang="fr-FR" sz="1600" b="1" noProof="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applications</a:t>
          </a:r>
        </a:p>
      </dgm:t>
    </dgm:pt>
    <dgm:pt modelId="{F84B43F1-7255-4C67-9996-27C0C5A4B06D}" type="parTrans" cxnId="{AA03D7A4-8B06-446B-97D2-A5BEAA155443}">
      <dgm:prSet/>
      <dgm:spPr/>
      <dgm:t>
        <a:bodyPr/>
        <a:lstStyle/>
        <a:p>
          <a:endParaRPr lang="fr-FR"/>
        </a:p>
      </dgm:t>
    </dgm:pt>
    <dgm:pt modelId="{0BFC7983-B561-4C4A-A69C-6D23B1A01810}" type="sibTrans" cxnId="{AA03D7A4-8B06-446B-97D2-A5BEAA155443}">
      <dgm:prSet/>
      <dgm:spPr/>
      <dgm:t>
        <a:bodyPr/>
        <a:lstStyle/>
        <a:p>
          <a:endParaRPr lang="fr-FR"/>
        </a:p>
      </dgm:t>
    </dgm:pt>
    <dgm:pt modelId="{5ACF19B5-E364-4396-9C9F-0C6F6678B543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s techniques de compréhension de texte</a:t>
          </a:r>
        </a:p>
      </dgm:t>
    </dgm:pt>
    <dgm:pt modelId="{5C011B18-62E2-41D3-9672-24E5251FE749}" type="parTrans" cxnId="{F9C773B4-0458-4640-B278-85BBA57855FA}">
      <dgm:prSet/>
      <dgm:spPr/>
      <dgm:t>
        <a:bodyPr/>
        <a:lstStyle/>
        <a:p>
          <a:endParaRPr lang="fr-FR"/>
        </a:p>
      </dgm:t>
    </dgm:pt>
    <dgm:pt modelId="{017DA7CA-48AC-4AE3-B206-FDD51FB11C4F}" type="sibTrans" cxnId="{F9C773B4-0458-4640-B278-85BBA57855FA}">
      <dgm:prSet/>
      <dgm:spPr/>
      <dgm:t>
        <a:bodyPr/>
        <a:lstStyle/>
        <a:p>
          <a:endParaRPr lang="fr-FR"/>
        </a:p>
      </dgm:t>
    </dgm:pt>
    <dgm:pt modelId="{88E841CF-01DA-439D-926E-9D9BE433561D}">
      <dgm:prSet phldrT="[Text]" custT="1"/>
      <dgm:spPr/>
      <dgm:t>
        <a:bodyPr/>
        <a:lstStyle/>
        <a:p>
          <a:pPr algn="ctr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Developpement des applications</a:t>
          </a:r>
        </a:p>
      </dgm:t>
    </dgm:pt>
    <dgm:pt modelId="{644F8D59-76EC-4427-9905-9B671492A068}" type="parTrans" cxnId="{E4127CF1-9027-4FCD-9C8F-C2E029AFE82C}">
      <dgm:prSet/>
      <dgm:spPr/>
      <dgm:t>
        <a:bodyPr/>
        <a:lstStyle/>
        <a:p>
          <a:endParaRPr lang="fr-FR"/>
        </a:p>
      </dgm:t>
    </dgm:pt>
    <dgm:pt modelId="{16933660-E66B-4B32-A2A6-B52B518548A6}" type="sibTrans" cxnId="{E4127CF1-9027-4FCD-9C8F-C2E029AFE82C}">
      <dgm:prSet/>
      <dgm:spPr/>
      <dgm:t>
        <a:bodyPr/>
        <a:lstStyle/>
        <a:p>
          <a:endParaRPr lang="fr-FR"/>
        </a:p>
      </dgm:t>
    </dgm:pt>
    <dgm:pt modelId="{589A1FC3-BFD8-4A0E-ADAF-6FE60C73F018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u moteur de recherche</a:t>
          </a:r>
        </a:p>
      </dgm:t>
    </dgm:pt>
    <dgm:pt modelId="{3A39BAAF-F505-4013-A509-C21F50B4A0F8}" type="parTrans" cxnId="{1F393738-3E8F-42E0-A8F5-24F4E132D2FA}">
      <dgm:prSet/>
      <dgm:spPr/>
      <dgm:t>
        <a:bodyPr/>
        <a:lstStyle/>
        <a:p>
          <a:endParaRPr lang="fr-FR"/>
        </a:p>
      </dgm:t>
    </dgm:pt>
    <dgm:pt modelId="{95972418-F57C-4C27-8440-DB266D1228D0}" type="sibTrans" cxnId="{1F393738-3E8F-42E0-A8F5-24F4E132D2FA}">
      <dgm:prSet/>
      <dgm:spPr/>
      <dgm:t>
        <a:bodyPr/>
        <a:lstStyle/>
        <a:p>
          <a:endParaRPr lang="fr-FR"/>
        </a:p>
      </dgm:t>
    </dgm:pt>
    <dgm:pt modelId="{A3B944DE-23A4-44C1-980E-09A42B5B8860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 catégorisation de texte</a:t>
          </a:r>
        </a:p>
      </dgm:t>
    </dgm:pt>
    <dgm:pt modelId="{40AC23C9-6406-4482-9607-6FC9B5AC5450}" type="parTrans" cxnId="{9B7681B1-DB26-4516-B890-902C51C2897C}">
      <dgm:prSet/>
      <dgm:spPr/>
      <dgm:t>
        <a:bodyPr/>
        <a:lstStyle/>
        <a:p>
          <a:endParaRPr lang="fr-FR"/>
        </a:p>
      </dgm:t>
    </dgm:pt>
    <dgm:pt modelId="{969110F3-28A2-4DEC-BE88-F2940F15FD37}" type="sibTrans" cxnId="{9B7681B1-DB26-4516-B890-902C51C2897C}">
      <dgm:prSet/>
      <dgm:spPr/>
      <dgm:t>
        <a:bodyPr/>
        <a:lstStyle/>
        <a:p>
          <a:endParaRPr lang="fr-FR"/>
        </a:p>
      </dgm:t>
    </dgm:pt>
    <dgm:pt modelId="{1D88034A-4C78-4928-BB91-7A38A6AD0A74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 la détection de spam</a:t>
          </a:r>
        </a:p>
      </dgm:t>
    </dgm:pt>
    <dgm:pt modelId="{B5D6E227-EE29-4E11-B28C-C915C9D2940D}" type="parTrans" cxnId="{4947AB2B-E090-4A5C-972E-AEA89CC334A5}">
      <dgm:prSet/>
      <dgm:spPr/>
      <dgm:t>
        <a:bodyPr/>
        <a:lstStyle/>
        <a:p>
          <a:endParaRPr lang="fr-FR"/>
        </a:p>
      </dgm:t>
    </dgm:pt>
    <dgm:pt modelId="{A517A3F1-ED74-4FFA-9E10-2F34AF43F1EC}" type="sibTrans" cxnId="{4947AB2B-E090-4A5C-972E-AEA89CC334A5}">
      <dgm:prSet/>
      <dgm:spPr/>
      <dgm:t>
        <a:bodyPr/>
        <a:lstStyle/>
        <a:p>
          <a:endParaRPr lang="fr-FR"/>
        </a:p>
      </dgm:t>
    </dgm:pt>
    <dgm:pt modelId="{D6ED2971-6D42-4425-85A1-614D22BAB2E5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 l‘analyse de sentiment</a:t>
          </a:r>
        </a:p>
      </dgm:t>
    </dgm:pt>
    <dgm:pt modelId="{765AD8F4-E71A-4D90-B9D8-B3043D7C6BD7}" type="parTrans" cxnId="{5A453026-6629-4DE7-8BC5-E7B7D98E0B8D}">
      <dgm:prSet/>
      <dgm:spPr/>
      <dgm:t>
        <a:bodyPr/>
        <a:lstStyle/>
        <a:p>
          <a:endParaRPr lang="fr-FR"/>
        </a:p>
      </dgm:t>
    </dgm:pt>
    <dgm:pt modelId="{C3E44D1A-EC69-4F4C-B513-DF8A7BD3E8F3}" type="sibTrans" cxnId="{5A453026-6629-4DE7-8BC5-E7B7D98E0B8D}">
      <dgm:prSet/>
      <dgm:spPr/>
      <dgm:t>
        <a:bodyPr/>
        <a:lstStyle/>
        <a:p>
          <a:endParaRPr lang="fr-FR"/>
        </a:p>
      </dgm:t>
    </dgm:pt>
    <dgm:pt modelId="{13A8598E-0624-4FB9-91CD-68AE606F4216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Optmisation des classifieurs</a:t>
          </a:r>
        </a:p>
      </dgm:t>
    </dgm:pt>
    <dgm:pt modelId="{7D64BF9E-CBE1-40EC-8DA7-7E79B9F3BB32}" type="parTrans" cxnId="{CC666AC0-D428-4DEB-AB1E-3F2EA711182B}">
      <dgm:prSet/>
      <dgm:spPr/>
      <dgm:t>
        <a:bodyPr/>
        <a:lstStyle/>
        <a:p>
          <a:endParaRPr lang="fr-FR"/>
        </a:p>
      </dgm:t>
    </dgm:pt>
    <dgm:pt modelId="{2F432F05-BC11-4A35-9D1F-C8B56D44E244}" type="sibTrans" cxnId="{CC666AC0-D428-4DEB-AB1E-3F2EA711182B}">
      <dgm:prSet/>
      <dgm:spPr/>
      <dgm:t>
        <a:bodyPr/>
        <a:lstStyle/>
        <a:p>
          <a:endParaRPr lang="fr-FR"/>
        </a:p>
      </dgm:t>
    </dgm:pt>
    <dgm:pt modelId="{C59DC4DA-93F9-4214-A9CB-45E6CF0BD86B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‘une 5ième application: Résumé de texte</a:t>
          </a:r>
        </a:p>
      </dgm:t>
    </dgm:pt>
    <dgm:pt modelId="{AED9F8B4-34EF-4AC4-B711-D3AB199C5A8F}" type="parTrans" cxnId="{FF928B09-F5E8-42B1-BC06-C0F1E20C56F2}">
      <dgm:prSet/>
      <dgm:spPr/>
      <dgm:t>
        <a:bodyPr/>
        <a:lstStyle/>
        <a:p>
          <a:endParaRPr lang="fr-FR"/>
        </a:p>
      </dgm:t>
    </dgm:pt>
    <dgm:pt modelId="{0BEA8993-0972-4AA4-8DDF-E611D4469064}" type="sibTrans" cxnId="{FF928B09-F5E8-42B1-BC06-C0F1E20C56F2}">
      <dgm:prSet/>
      <dgm:spPr/>
      <dgm:t>
        <a:bodyPr/>
        <a:lstStyle/>
        <a:p>
          <a:endParaRPr lang="fr-FR"/>
        </a:p>
      </dgm:t>
    </dgm:pt>
    <dgm:pt modelId="{E5057A02-C73D-4260-B0D1-827FDBEA383E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Rassemblement des applications en un programme</a:t>
          </a:r>
        </a:p>
      </dgm:t>
    </dgm:pt>
    <dgm:pt modelId="{3BB41778-B2C3-467B-B475-D409B278E0FE}" type="parTrans" cxnId="{DE1D9D7A-4657-4DC8-8078-5AB0759E9DCF}">
      <dgm:prSet/>
      <dgm:spPr/>
      <dgm:t>
        <a:bodyPr/>
        <a:lstStyle/>
        <a:p>
          <a:endParaRPr lang="fr-FR"/>
        </a:p>
      </dgm:t>
    </dgm:pt>
    <dgm:pt modelId="{FBFD2920-3055-470D-A42E-9732623F22B9}" type="sibTrans" cxnId="{DE1D9D7A-4657-4DC8-8078-5AB0759E9DCF}">
      <dgm:prSet/>
      <dgm:spPr/>
      <dgm:t>
        <a:bodyPr/>
        <a:lstStyle/>
        <a:p>
          <a:endParaRPr lang="fr-FR"/>
        </a:p>
      </dgm:t>
    </dgm:pt>
    <dgm:pt modelId="{177CE883-C9BD-470B-85B7-D35B8C249778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Réalisation d‘interface graphique (facultatif)</a:t>
          </a:r>
        </a:p>
      </dgm:t>
    </dgm:pt>
    <dgm:pt modelId="{EAB87A20-6789-4720-B925-4B49CB297193}" type="parTrans" cxnId="{55636DFE-583C-4036-B809-B78FC4F1EA13}">
      <dgm:prSet/>
      <dgm:spPr/>
      <dgm:t>
        <a:bodyPr/>
        <a:lstStyle/>
        <a:p>
          <a:endParaRPr lang="fr-FR"/>
        </a:p>
      </dgm:t>
    </dgm:pt>
    <dgm:pt modelId="{5E51A3B5-1801-40A8-8C01-73213804CC9C}" type="sibTrans" cxnId="{55636DFE-583C-4036-B809-B78FC4F1EA13}">
      <dgm:prSet/>
      <dgm:spPr/>
      <dgm:t>
        <a:bodyPr/>
        <a:lstStyle/>
        <a:p>
          <a:endParaRPr lang="fr-FR"/>
        </a:p>
      </dgm:t>
    </dgm:pt>
    <dgm:pt modelId="{3EB44CB1-04C9-4E63-8285-21DD200740F6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Réalisation des tests</a:t>
          </a:r>
        </a:p>
      </dgm:t>
    </dgm:pt>
    <dgm:pt modelId="{926F9CA7-95D3-4716-8861-3CF3EC7F6D55}" type="parTrans" cxnId="{99C78DD9-E0A8-41E2-9FA6-EF1189FF6D1D}">
      <dgm:prSet/>
      <dgm:spPr/>
      <dgm:t>
        <a:bodyPr/>
        <a:lstStyle/>
        <a:p>
          <a:endParaRPr lang="fr-FR"/>
        </a:p>
      </dgm:t>
    </dgm:pt>
    <dgm:pt modelId="{F6CA1156-64F0-425F-8F5B-A0B7924DACD0}" type="sibTrans" cxnId="{99C78DD9-E0A8-41E2-9FA6-EF1189FF6D1D}">
      <dgm:prSet/>
      <dgm:spPr/>
      <dgm:t>
        <a:bodyPr/>
        <a:lstStyle/>
        <a:p>
          <a:endParaRPr lang="fr-FR"/>
        </a:p>
      </dgm:t>
    </dgm:pt>
    <dgm:pt modelId="{85983522-54B0-41CC-BE51-EE1131B3765A}" type="pres">
      <dgm:prSet presAssocID="{25AF61FF-CD3F-4320-9644-1A666005F5D3}" presName="Name0" presStyleCnt="0">
        <dgm:presLayoutVars>
          <dgm:dir/>
        </dgm:presLayoutVars>
      </dgm:prSet>
      <dgm:spPr/>
    </dgm:pt>
    <dgm:pt modelId="{17F95ADE-5631-46E2-BFF1-371060555B64}" type="pres">
      <dgm:prSet presAssocID="{98F2F1A7-4A47-4E17-AB3A-363BE2C2C135}" presName="composite" presStyleCnt="0"/>
      <dgm:spPr/>
    </dgm:pt>
    <dgm:pt modelId="{A1C5A853-5050-41EA-ACF1-F275E495773E}" type="pres">
      <dgm:prSet presAssocID="{98F2F1A7-4A47-4E17-AB3A-363BE2C2C135}" presName="background" presStyleLbl="revTx" presStyleIdx="0" presStyleCnt="15"/>
      <dgm:spPr/>
    </dgm:pt>
    <dgm:pt modelId="{C6674ABF-D6CA-460F-9513-36418065EBD7}" type="pres">
      <dgm:prSet presAssocID="{98F2F1A7-4A47-4E17-AB3A-363BE2C2C135}" presName="txLvl1" presStyleLbl="alignNode1" presStyleIdx="0" presStyleCnt="15"/>
      <dgm:spPr/>
    </dgm:pt>
    <dgm:pt modelId="{9B7DC6E4-8254-45C3-B58B-7550C50C724F}" type="pres">
      <dgm:prSet presAssocID="{98F2F1A7-4A47-4E17-AB3A-363BE2C2C135}" presName="lin" presStyleCnt="0"/>
      <dgm:spPr/>
    </dgm:pt>
    <dgm:pt modelId="{4E02B19F-7D30-4141-BFC4-97404A2B6501}" type="pres">
      <dgm:prSet presAssocID="{64ED7F40-5AA2-456C-83D8-70D4068E4A66}" presName="innerLin" presStyleCnt="0"/>
      <dgm:spPr/>
    </dgm:pt>
    <dgm:pt modelId="{5C4FC227-0F1C-4CEF-8ABC-14547FF5B28E}" type="pres">
      <dgm:prSet presAssocID="{64ED7F40-5AA2-456C-83D8-70D4068E4A66}" presName="square" presStyleLbl="alignNode1" presStyleIdx="1" presStyleCnt="15"/>
      <dgm:spPr/>
    </dgm:pt>
    <dgm:pt modelId="{745F8DD8-E5E1-4A4E-9516-F2B9D7FCFD6F}" type="pres">
      <dgm:prSet presAssocID="{64ED7F40-5AA2-456C-83D8-70D4068E4A66}" presName="txLvl2" presStyleLbl="revTx" presStyleIdx="1" presStyleCnt="15"/>
      <dgm:spPr/>
    </dgm:pt>
    <dgm:pt modelId="{F6D1C2DE-608F-4540-93CF-00DF49EF9000}" type="pres">
      <dgm:prSet presAssocID="{FE33E613-6E3A-45C8-B821-C76A6881D16A}" presName="innerSpace" presStyleCnt="0"/>
      <dgm:spPr/>
    </dgm:pt>
    <dgm:pt modelId="{F026FD45-113A-48F1-9B17-33027E643750}" type="pres">
      <dgm:prSet presAssocID="{5ACF19B5-E364-4396-9C9F-0C6F6678B543}" presName="innerLin" presStyleCnt="0"/>
      <dgm:spPr/>
    </dgm:pt>
    <dgm:pt modelId="{45EACF86-C495-4806-A52E-36FEA7811285}" type="pres">
      <dgm:prSet presAssocID="{5ACF19B5-E364-4396-9C9F-0C6F6678B543}" presName="square" presStyleLbl="alignNode1" presStyleIdx="2" presStyleCnt="15"/>
      <dgm:spPr/>
    </dgm:pt>
    <dgm:pt modelId="{A94118BB-20C7-45DD-8142-C87ABB4823AA}" type="pres">
      <dgm:prSet presAssocID="{5ACF19B5-E364-4396-9C9F-0C6F6678B543}" presName="txLvl2" presStyleLbl="revTx" presStyleIdx="2" presStyleCnt="15"/>
      <dgm:spPr/>
    </dgm:pt>
    <dgm:pt modelId="{53F64890-D2B8-444E-A483-DADD463175CC}" type="pres">
      <dgm:prSet presAssocID="{A40B4662-56EA-4825-9EB3-7887EA865A14}" presName="space" presStyleCnt="0"/>
      <dgm:spPr/>
    </dgm:pt>
    <dgm:pt modelId="{C2864478-2CF3-4603-B8A5-CF48FD770C7D}" type="pres">
      <dgm:prSet presAssocID="{7401B0DE-61BF-4A88-BB5B-B392E0E49FB6}" presName="composite" presStyleCnt="0"/>
      <dgm:spPr/>
    </dgm:pt>
    <dgm:pt modelId="{D6810DCB-A642-4571-A83A-FAEF5C5E7078}" type="pres">
      <dgm:prSet presAssocID="{7401B0DE-61BF-4A88-BB5B-B392E0E49FB6}" presName="background" presStyleLbl="revTx" presStyleIdx="3" presStyleCnt="15"/>
      <dgm:spPr/>
    </dgm:pt>
    <dgm:pt modelId="{B1207ED9-5F09-4652-BFF5-169BE9A57372}" type="pres">
      <dgm:prSet presAssocID="{7401B0DE-61BF-4A88-BB5B-B392E0E49FB6}" presName="txLvl1" presStyleLbl="alignNode1" presStyleIdx="3" presStyleCnt="15"/>
      <dgm:spPr/>
    </dgm:pt>
    <dgm:pt modelId="{2268A8CE-8192-44A5-B183-A073ECAA38A5}" type="pres">
      <dgm:prSet presAssocID="{7401B0DE-61BF-4A88-BB5B-B392E0E49FB6}" presName="lin" presStyleCnt="0"/>
      <dgm:spPr/>
    </dgm:pt>
    <dgm:pt modelId="{6A762ED2-F01B-4FF7-BC03-BD36CE1C5C63}" type="pres">
      <dgm:prSet presAssocID="{589A1FC3-BFD8-4A0E-ADAF-6FE60C73F018}" presName="innerLin" presStyleCnt="0"/>
      <dgm:spPr/>
    </dgm:pt>
    <dgm:pt modelId="{71E3D0DB-5CEC-400D-BB3C-BA4453200D87}" type="pres">
      <dgm:prSet presAssocID="{589A1FC3-BFD8-4A0E-ADAF-6FE60C73F018}" presName="square" presStyleLbl="alignNode1" presStyleIdx="4" presStyleCnt="15"/>
      <dgm:spPr/>
    </dgm:pt>
    <dgm:pt modelId="{03BCE79E-19A3-4D8C-960B-CA7DB00C5AE4}" type="pres">
      <dgm:prSet presAssocID="{589A1FC3-BFD8-4A0E-ADAF-6FE60C73F018}" presName="txLvl2" presStyleLbl="revTx" presStyleIdx="4" presStyleCnt="15"/>
      <dgm:spPr/>
    </dgm:pt>
    <dgm:pt modelId="{379734FE-23D7-4F06-B1FF-812EE57861F0}" type="pres">
      <dgm:prSet presAssocID="{95972418-F57C-4C27-8440-DB266D1228D0}" presName="innerSpace" presStyleCnt="0"/>
      <dgm:spPr/>
    </dgm:pt>
    <dgm:pt modelId="{9A39F83B-1622-4942-93A1-1C7D030CF987}" type="pres">
      <dgm:prSet presAssocID="{A3B944DE-23A4-44C1-980E-09A42B5B8860}" presName="innerLin" presStyleCnt="0"/>
      <dgm:spPr/>
    </dgm:pt>
    <dgm:pt modelId="{8A0A0400-8AE2-47BE-8145-41AE60A88AE4}" type="pres">
      <dgm:prSet presAssocID="{A3B944DE-23A4-44C1-980E-09A42B5B8860}" presName="square" presStyleLbl="alignNode1" presStyleIdx="5" presStyleCnt="15"/>
      <dgm:spPr/>
    </dgm:pt>
    <dgm:pt modelId="{F1069177-A7AD-4B96-9C82-933B0EFEC5B1}" type="pres">
      <dgm:prSet presAssocID="{A3B944DE-23A4-44C1-980E-09A42B5B8860}" presName="txLvl2" presStyleLbl="revTx" presStyleIdx="5" presStyleCnt="15"/>
      <dgm:spPr/>
    </dgm:pt>
    <dgm:pt modelId="{EFF4897E-1846-46AC-B4E9-2E3ACF702459}" type="pres">
      <dgm:prSet presAssocID="{969110F3-28A2-4DEC-BE88-F2940F15FD37}" presName="innerSpace" presStyleCnt="0"/>
      <dgm:spPr/>
    </dgm:pt>
    <dgm:pt modelId="{CB8038BD-180F-4CF2-A930-8D9A53F636BA}" type="pres">
      <dgm:prSet presAssocID="{1D88034A-4C78-4928-BB91-7A38A6AD0A74}" presName="innerLin" presStyleCnt="0"/>
      <dgm:spPr/>
    </dgm:pt>
    <dgm:pt modelId="{CF05CDD1-A50E-491D-AE92-D50189BE6975}" type="pres">
      <dgm:prSet presAssocID="{1D88034A-4C78-4928-BB91-7A38A6AD0A74}" presName="square" presStyleLbl="alignNode1" presStyleIdx="6" presStyleCnt="15"/>
      <dgm:spPr/>
    </dgm:pt>
    <dgm:pt modelId="{D7ACFF19-40E9-428A-B4C4-0B4D2E78B3A5}" type="pres">
      <dgm:prSet presAssocID="{1D88034A-4C78-4928-BB91-7A38A6AD0A74}" presName="txLvl2" presStyleLbl="revTx" presStyleIdx="6" presStyleCnt="15"/>
      <dgm:spPr/>
    </dgm:pt>
    <dgm:pt modelId="{3B15203B-49FD-428E-8079-A214BC045333}" type="pres">
      <dgm:prSet presAssocID="{A517A3F1-ED74-4FFA-9E10-2F34AF43F1EC}" presName="innerSpace" presStyleCnt="0"/>
      <dgm:spPr/>
    </dgm:pt>
    <dgm:pt modelId="{D4E1FF25-6650-4C30-8700-AAD79145299F}" type="pres">
      <dgm:prSet presAssocID="{D6ED2971-6D42-4425-85A1-614D22BAB2E5}" presName="innerLin" presStyleCnt="0"/>
      <dgm:spPr/>
    </dgm:pt>
    <dgm:pt modelId="{BB4EF2ED-4BB7-4450-81F5-DDC2A2CE8B08}" type="pres">
      <dgm:prSet presAssocID="{D6ED2971-6D42-4425-85A1-614D22BAB2E5}" presName="square" presStyleLbl="alignNode1" presStyleIdx="7" presStyleCnt="15"/>
      <dgm:spPr/>
    </dgm:pt>
    <dgm:pt modelId="{6D8D533F-6F7A-4D67-ACA6-D2CF39DF6834}" type="pres">
      <dgm:prSet presAssocID="{D6ED2971-6D42-4425-85A1-614D22BAB2E5}" presName="txLvl2" presStyleLbl="revTx" presStyleIdx="7" presStyleCnt="15"/>
      <dgm:spPr/>
    </dgm:pt>
    <dgm:pt modelId="{78597477-A321-4F23-9485-6C0CAF4D9740}" type="pres">
      <dgm:prSet presAssocID="{0BFC7983-B561-4C4A-A69C-6D23B1A01810}" presName="space" presStyleCnt="0"/>
      <dgm:spPr/>
    </dgm:pt>
    <dgm:pt modelId="{3357DAA5-6FCE-4010-AFC4-061C9CFBA314}" type="pres">
      <dgm:prSet presAssocID="{88E841CF-01DA-439D-926E-9D9BE433561D}" presName="composite" presStyleCnt="0"/>
      <dgm:spPr/>
    </dgm:pt>
    <dgm:pt modelId="{9A81DEE1-2736-4E00-8FFE-BFDEECDA2D26}" type="pres">
      <dgm:prSet presAssocID="{88E841CF-01DA-439D-926E-9D9BE433561D}" presName="background" presStyleLbl="revTx" presStyleIdx="8" presStyleCnt="15"/>
      <dgm:spPr/>
    </dgm:pt>
    <dgm:pt modelId="{60A4F703-AE08-41B4-9E63-869505154997}" type="pres">
      <dgm:prSet presAssocID="{88E841CF-01DA-439D-926E-9D9BE433561D}" presName="txLvl1" presStyleLbl="alignNode1" presStyleIdx="8" presStyleCnt="15"/>
      <dgm:spPr/>
    </dgm:pt>
    <dgm:pt modelId="{FDA1E9B5-9107-46AF-B169-D98FC6BFF0D2}" type="pres">
      <dgm:prSet presAssocID="{88E841CF-01DA-439D-926E-9D9BE433561D}" presName="lin" presStyleCnt="0"/>
      <dgm:spPr/>
    </dgm:pt>
    <dgm:pt modelId="{9118BB27-90B5-4DAF-AF1E-B9AB9686F33B}" type="pres">
      <dgm:prSet presAssocID="{13A8598E-0624-4FB9-91CD-68AE606F4216}" presName="innerLin" presStyleCnt="0"/>
      <dgm:spPr/>
    </dgm:pt>
    <dgm:pt modelId="{69D93163-235A-4AA7-8E97-81BAE0CB0A0D}" type="pres">
      <dgm:prSet presAssocID="{13A8598E-0624-4FB9-91CD-68AE606F4216}" presName="square" presStyleLbl="alignNode1" presStyleIdx="9" presStyleCnt="15"/>
      <dgm:spPr/>
    </dgm:pt>
    <dgm:pt modelId="{7F4998AE-3525-4F97-8641-78BC363FDB7A}" type="pres">
      <dgm:prSet presAssocID="{13A8598E-0624-4FB9-91CD-68AE606F4216}" presName="txLvl2" presStyleLbl="revTx" presStyleIdx="9" presStyleCnt="15"/>
      <dgm:spPr/>
    </dgm:pt>
    <dgm:pt modelId="{5286A28D-B70A-4526-9EC3-76FCD583FD41}" type="pres">
      <dgm:prSet presAssocID="{2F432F05-BC11-4A35-9D1F-C8B56D44E244}" presName="innerSpace" presStyleCnt="0"/>
      <dgm:spPr/>
    </dgm:pt>
    <dgm:pt modelId="{A7D3CB16-A3EE-4EBE-9D7C-0BE656231FA9}" type="pres">
      <dgm:prSet presAssocID="{C59DC4DA-93F9-4214-A9CB-45E6CF0BD86B}" presName="innerLin" presStyleCnt="0"/>
      <dgm:spPr/>
    </dgm:pt>
    <dgm:pt modelId="{1AFC2A38-1435-4B8A-AC08-4306718DD5FB}" type="pres">
      <dgm:prSet presAssocID="{C59DC4DA-93F9-4214-A9CB-45E6CF0BD86B}" presName="square" presStyleLbl="alignNode1" presStyleIdx="10" presStyleCnt="15"/>
      <dgm:spPr/>
    </dgm:pt>
    <dgm:pt modelId="{A021C2CC-D719-46C8-839C-ACBC3C9F8C0D}" type="pres">
      <dgm:prSet presAssocID="{C59DC4DA-93F9-4214-A9CB-45E6CF0BD86B}" presName="txLvl2" presStyleLbl="revTx" presStyleIdx="10" presStyleCnt="15"/>
      <dgm:spPr/>
    </dgm:pt>
    <dgm:pt modelId="{E2892283-009F-4687-BBE6-F21B5163452B}" type="pres">
      <dgm:prSet presAssocID="{16933660-E66B-4B32-A2A6-B52B518548A6}" presName="space" presStyleCnt="0"/>
      <dgm:spPr/>
    </dgm:pt>
    <dgm:pt modelId="{D35B35A5-EE90-47D1-9465-B3E9086B356B}" type="pres">
      <dgm:prSet presAssocID="{03760581-3077-46CC-A047-044CCB08DE09}" presName="composite" presStyleCnt="0"/>
      <dgm:spPr/>
    </dgm:pt>
    <dgm:pt modelId="{2BD4F195-137F-42F9-A1DA-1CA82C3F158D}" type="pres">
      <dgm:prSet presAssocID="{03760581-3077-46CC-A047-044CCB08DE09}" presName="background" presStyleLbl="revTx" presStyleIdx="11" presStyleCnt="15"/>
      <dgm:spPr/>
    </dgm:pt>
    <dgm:pt modelId="{B9C87496-D0F6-4B09-BFF2-A2B327A006A8}" type="pres">
      <dgm:prSet presAssocID="{03760581-3077-46CC-A047-044CCB08DE09}" presName="txLvl1" presStyleLbl="alignNode1" presStyleIdx="11" presStyleCnt="15"/>
      <dgm:spPr/>
    </dgm:pt>
    <dgm:pt modelId="{9EA5AAF7-1B9C-47A7-B1F5-96160C009039}" type="pres">
      <dgm:prSet presAssocID="{03760581-3077-46CC-A047-044CCB08DE09}" presName="lin" presStyleCnt="0"/>
      <dgm:spPr/>
    </dgm:pt>
    <dgm:pt modelId="{827428F4-EB7C-410F-9783-F670DCA3F3E9}" type="pres">
      <dgm:prSet presAssocID="{E5057A02-C73D-4260-B0D1-827FDBEA383E}" presName="innerLin" presStyleCnt="0"/>
      <dgm:spPr/>
    </dgm:pt>
    <dgm:pt modelId="{12492890-BADB-43A0-BC98-58FBEFF187C3}" type="pres">
      <dgm:prSet presAssocID="{E5057A02-C73D-4260-B0D1-827FDBEA383E}" presName="square" presStyleLbl="alignNode1" presStyleIdx="12" presStyleCnt="15"/>
      <dgm:spPr/>
    </dgm:pt>
    <dgm:pt modelId="{20956DA1-960D-498E-9874-4233DBAD2086}" type="pres">
      <dgm:prSet presAssocID="{E5057A02-C73D-4260-B0D1-827FDBEA383E}" presName="txLvl2" presStyleLbl="revTx" presStyleIdx="12" presStyleCnt="15"/>
      <dgm:spPr/>
    </dgm:pt>
    <dgm:pt modelId="{EB6CD8C9-68B8-402B-962A-85EE95A46975}" type="pres">
      <dgm:prSet presAssocID="{FBFD2920-3055-470D-A42E-9732623F22B9}" presName="innerSpace" presStyleCnt="0"/>
      <dgm:spPr/>
    </dgm:pt>
    <dgm:pt modelId="{784908CC-9480-4264-AD03-4E374EECF50D}" type="pres">
      <dgm:prSet presAssocID="{177CE883-C9BD-470B-85B7-D35B8C249778}" presName="innerLin" presStyleCnt="0"/>
      <dgm:spPr/>
    </dgm:pt>
    <dgm:pt modelId="{9CC77EF6-C13C-47BD-91EF-2E66D143EBD5}" type="pres">
      <dgm:prSet presAssocID="{177CE883-C9BD-470B-85B7-D35B8C249778}" presName="square" presStyleLbl="alignNode1" presStyleIdx="13" presStyleCnt="15"/>
      <dgm:spPr/>
    </dgm:pt>
    <dgm:pt modelId="{236FC07F-CDB9-49D5-A77B-136EF5F60196}" type="pres">
      <dgm:prSet presAssocID="{177CE883-C9BD-470B-85B7-D35B8C249778}" presName="txLvl2" presStyleLbl="revTx" presStyleIdx="13" presStyleCnt="15"/>
      <dgm:spPr/>
    </dgm:pt>
    <dgm:pt modelId="{EFA15675-88EE-490A-B00A-7949491FFF10}" type="pres">
      <dgm:prSet presAssocID="{5E51A3B5-1801-40A8-8C01-73213804CC9C}" presName="innerSpace" presStyleCnt="0"/>
      <dgm:spPr/>
    </dgm:pt>
    <dgm:pt modelId="{53FEDFAE-59BD-45E6-B929-4B0AD2234907}" type="pres">
      <dgm:prSet presAssocID="{3EB44CB1-04C9-4E63-8285-21DD200740F6}" presName="innerLin" presStyleCnt="0"/>
      <dgm:spPr/>
    </dgm:pt>
    <dgm:pt modelId="{4FB432C0-1ABE-40F1-BDB0-E902012FD63C}" type="pres">
      <dgm:prSet presAssocID="{3EB44CB1-04C9-4E63-8285-21DD200740F6}" presName="square" presStyleLbl="alignNode1" presStyleIdx="14" presStyleCnt="15"/>
      <dgm:spPr/>
    </dgm:pt>
    <dgm:pt modelId="{F252F413-0DF8-49E3-9A20-2403DCCD0803}" type="pres">
      <dgm:prSet presAssocID="{3EB44CB1-04C9-4E63-8285-21DD200740F6}" presName="txLvl2" presStyleLbl="revTx" presStyleIdx="14" presStyleCnt="15"/>
      <dgm:spPr/>
    </dgm:pt>
  </dgm:ptLst>
  <dgm:cxnLst>
    <dgm:cxn modelId="{EAEDC101-C8B8-462B-BFC4-5D1DCCB77779}" srcId="{25AF61FF-CD3F-4320-9644-1A666005F5D3}" destId="{03760581-3077-46CC-A047-044CCB08DE09}" srcOrd="3" destOrd="0" parTransId="{79C83EEF-06A9-4255-A205-C8C7C3327A8E}" sibTransId="{AF58A036-82F8-45CD-8F80-83AC587796CD}"/>
    <dgm:cxn modelId="{FF928B09-F5E8-42B1-BC06-C0F1E20C56F2}" srcId="{88E841CF-01DA-439D-926E-9D9BE433561D}" destId="{C59DC4DA-93F9-4214-A9CB-45E6CF0BD86B}" srcOrd="1" destOrd="0" parTransId="{AED9F8B4-34EF-4AC4-B711-D3AB199C5A8F}" sibTransId="{0BEA8993-0972-4AA4-8DDF-E611D4469064}"/>
    <dgm:cxn modelId="{D608D618-152A-4960-B5E8-3992B82248A5}" type="presOf" srcId="{88E841CF-01DA-439D-926E-9D9BE433561D}" destId="{60A4F703-AE08-41B4-9E63-869505154997}" srcOrd="0" destOrd="0" presId="urn:madeinoffice.com/office/officeart/2005/8/layout/ProzessketteMitTextboxenUnterhalb"/>
    <dgm:cxn modelId="{ACCADA19-51C7-44D2-B483-A162AEB72186}" type="presOf" srcId="{A3B944DE-23A4-44C1-980E-09A42B5B8860}" destId="{F1069177-A7AD-4B96-9C82-933B0EFEC5B1}" srcOrd="0" destOrd="0" presId="urn:madeinoffice.com/office/officeart/2005/8/layout/ProzessketteMitTextboxenUnterhalb"/>
    <dgm:cxn modelId="{14164620-6CEA-4286-A8EE-C9050F5B6A7F}" type="presOf" srcId="{177CE883-C9BD-470B-85B7-D35B8C249778}" destId="{236FC07F-CDB9-49D5-A77B-136EF5F60196}" srcOrd="0" destOrd="0" presId="urn:madeinoffice.com/office/officeart/2005/8/layout/ProzessketteMitTextboxenUnterhalb"/>
    <dgm:cxn modelId="{5A453026-6629-4DE7-8BC5-E7B7D98E0B8D}" srcId="{7401B0DE-61BF-4A88-BB5B-B392E0E49FB6}" destId="{D6ED2971-6D42-4425-85A1-614D22BAB2E5}" srcOrd="3" destOrd="0" parTransId="{765AD8F4-E71A-4D90-B9D8-B3043D7C6BD7}" sibTransId="{C3E44D1A-EC69-4F4C-B513-DF8A7BD3E8F3}"/>
    <dgm:cxn modelId="{4947AB2B-E090-4A5C-972E-AEA89CC334A5}" srcId="{7401B0DE-61BF-4A88-BB5B-B392E0E49FB6}" destId="{1D88034A-4C78-4928-BB91-7A38A6AD0A74}" srcOrd="2" destOrd="0" parTransId="{B5D6E227-EE29-4E11-B28C-C915C9D2940D}" sibTransId="{A517A3F1-ED74-4FFA-9E10-2F34AF43F1EC}"/>
    <dgm:cxn modelId="{1F393738-3E8F-42E0-A8F5-24F4E132D2FA}" srcId="{7401B0DE-61BF-4A88-BB5B-B392E0E49FB6}" destId="{589A1FC3-BFD8-4A0E-ADAF-6FE60C73F018}" srcOrd="0" destOrd="0" parTransId="{3A39BAAF-F505-4013-A509-C21F50B4A0F8}" sibTransId="{95972418-F57C-4C27-8440-DB266D1228D0}"/>
    <dgm:cxn modelId="{9CE04D5E-9F24-4669-84B4-D390ADAE2F90}" type="presOf" srcId="{3EB44CB1-04C9-4E63-8285-21DD200740F6}" destId="{F252F413-0DF8-49E3-9A20-2403DCCD0803}" srcOrd="0" destOrd="0" presId="urn:madeinoffice.com/office/officeart/2005/8/layout/ProzessketteMitTextboxenUnterhalb"/>
    <dgm:cxn modelId="{2DB20E42-6981-4474-82C9-8D7EE771A346}" type="presOf" srcId="{98F2F1A7-4A47-4E17-AB3A-363BE2C2C135}" destId="{C6674ABF-D6CA-460F-9513-36418065EBD7}" srcOrd="0" destOrd="0" presId="urn:madeinoffice.com/office/officeart/2005/8/layout/ProzessketteMitTextboxenUnterhalb"/>
    <dgm:cxn modelId="{AAEFFE64-396B-431F-BAFC-A96F2351CD58}" type="presOf" srcId="{D6ED2971-6D42-4425-85A1-614D22BAB2E5}" destId="{6D8D533F-6F7A-4D67-ACA6-D2CF39DF6834}" srcOrd="0" destOrd="0" presId="urn:madeinoffice.com/office/officeart/2005/8/layout/ProzessketteMitTextboxenUnterhalb"/>
    <dgm:cxn modelId="{2797A445-851D-43F2-A6EB-7CEA93C25CC6}" type="presOf" srcId="{E5057A02-C73D-4260-B0D1-827FDBEA383E}" destId="{20956DA1-960D-498E-9874-4233DBAD2086}" srcOrd="0" destOrd="0" presId="urn:madeinoffice.com/office/officeart/2005/8/layout/ProzessketteMitTextboxenUnterhalb"/>
    <dgm:cxn modelId="{388CF970-3B92-4B2F-8AA0-619F35A5AA25}" type="presOf" srcId="{25AF61FF-CD3F-4320-9644-1A666005F5D3}" destId="{85983522-54B0-41CC-BE51-EE1131B3765A}" srcOrd="0" destOrd="0" presId="urn:madeinoffice.com/office/officeart/2005/8/layout/ProzessketteMitTextboxenUnterhalb"/>
    <dgm:cxn modelId="{77FE9251-A7CD-4149-B518-4F6D367BACA4}" type="presOf" srcId="{1D88034A-4C78-4928-BB91-7A38A6AD0A74}" destId="{D7ACFF19-40E9-428A-B4C4-0B4D2E78B3A5}" srcOrd="0" destOrd="0" presId="urn:madeinoffice.com/office/officeart/2005/8/layout/ProzessketteMitTextboxenUnterhalb"/>
    <dgm:cxn modelId="{DE1D9D7A-4657-4DC8-8078-5AB0759E9DCF}" srcId="{03760581-3077-46CC-A047-044CCB08DE09}" destId="{E5057A02-C73D-4260-B0D1-827FDBEA383E}" srcOrd="0" destOrd="0" parTransId="{3BB41778-B2C3-467B-B475-D409B278E0FE}" sibTransId="{FBFD2920-3055-470D-A42E-9732623F22B9}"/>
    <dgm:cxn modelId="{79096581-8CD0-4586-8B07-BB67E608915F}" type="presOf" srcId="{589A1FC3-BFD8-4A0E-ADAF-6FE60C73F018}" destId="{03BCE79E-19A3-4D8C-960B-CA7DB00C5AE4}" srcOrd="0" destOrd="0" presId="urn:madeinoffice.com/office/officeart/2005/8/layout/ProzessketteMitTextboxenUnterhalb"/>
    <dgm:cxn modelId="{DA452D8B-2839-4170-8445-96F896BA4F19}" type="presOf" srcId="{5ACF19B5-E364-4396-9C9F-0C6F6678B543}" destId="{A94118BB-20C7-45DD-8142-C87ABB4823AA}" srcOrd="0" destOrd="0" presId="urn:madeinoffice.com/office/officeart/2005/8/layout/ProzessketteMitTextboxenUnterhalb"/>
    <dgm:cxn modelId="{18E7B38B-4E1F-45DF-B268-1D0E239D25F9}" type="presOf" srcId="{13A8598E-0624-4FB9-91CD-68AE606F4216}" destId="{7F4998AE-3525-4F97-8641-78BC363FDB7A}" srcOrd="0" destOrd="0" presId="urn:madeinoffice.com/office/officeart/2005/8/layout/ProzessketteMitTextboxenUnterhalb"/>
    <dgm:cxn modelId="{0D93F18E-4FB1-483B-9C2D-B81727BC5BC1}" type="presOf" srcId="{7401B0DE-61BF-4A88-BB5B-B392E0E49FB6}" destId="{B1207ED9-5F09-4652-BFF5-169BE9A57372}" srcOrd="0" destOrd="0" presId="urn:madeinoffice.com/office/officeart/2005/8/layout/ProzessketteMitTextboxenUnterhalb"/>
    <dgm:cxn modelId="{8BDC8791-C7DC-48EB-AE2B-C3D73347034E}" srcId="{98F2F1A7-4A47-4E17-AB3A-363BE2C2C135}" destId="{64ED7F40-5AA2-456C-83D8-70D4068E4A66}" srcOrd="0" destOrd="0" parTransId="{A11D4BC6-DCFC-42CE-8F2D-5D526E48A5CE}" sibTransId="{FE33E613-6E3A-45C8-B821-C76A6881D16A}"/>
    <dgm:cxn modelId="{22E1B4A4-995E-4E0F-811F-3D137C54DABA}" type="presOf" srcId="{64ED7F40-5AA2-456C-83D8-70D4068E4A66}" destId="{745F8DD8-E5E1-4A4E-9516-F2B9D7FCFD6F}" srcOrd="0" destOrd="0" presId="urn:madeinoffice.com/office/officeart/2005/8/layout/ProzessketteMitTextboxenUnterhalb"/>
    <dgm:cxn modelId="{AA03D7A4-8B06-446B-97D2-A5BEAA155443}" srcId="{25AF61FF-CD3F-4320-9644-1A666005F5D3}" destId="{7401B0DE-61BF-4A88-BB5B-B392E0E49FB6}" srcOrd="1" destOrd="0" parTransId="{F84B43F1-7255-4C67-9996-27C0C5A4B06D}" sibTransId="{0BFC7983-B561-4C4A-A69C-6D23B1A01810}"/>
    <dgm:cxn modelId="{9B7681B1-DB26-4516-B890-902C51C2897C}" srcId="{7401B0DE-61BF-4A88-BB5B-B392E0E49FB6}" destId="{A3B944DE-23A4-44C1-980E-09A42B5B8860}" srcOrd="1" destOrd="0" parTransId="{40AC23C9-6406-4482-9607-6FC9B5AC5450}" sibTransId="{969110F3-28A2-4DEC-BE88-F2940F15FD37}"/>
    <dgm:cxn modelId="{F9C773B4-0458-4640-B278-85BBA57855FA}" srcId="{98F2F1A7-4A47-4E17-AB3A-363BE2C2C135}" destId="{5ACF19B5-E364-4396-9C9F-0C6F6678B543}" srcOrd="1" destOrd="0" parTransId="{5C011B18-62E2-41D3-9672-24E5251FE749}" sibTransId="{017DA7CA-48AC-4AE3-B206-FDD51FB11C4F}"/>
    <dgm:cxn modelId="{6285F0BC-D552-4056-AF2A-6CE18EAAA8E9}" srcId="{25AF61FF-CD3F-4320-9644-1A666005F5D3}" destId="{98F2F1A7-4A47-4E17-AB3A-363BE2C2C135}" srcOrd="0" destOrd="0" parTransId="{E8F90E9B-F257-4A21-B73C-4532CEC821F5}" sibTransId="{A40B4662-56EA-4825-9EB3-7887EA865A14}"/>
    <dgm:cxn modelId="{CC666AC0-D428-4DEB-AB1E-3F2EA711182B}" srcId="{88E841CF-01DA-439D-926E-9D9BE433561D}" destId="{13A8598E-0624-4FB9-91CD-68AE606F4216}" srcOrd="0" destOrd="0" parTransId="{7D64BF9E-CBE1-40EC-8DA7-7E79B9F3BB32}" sibTransId="{2F432F05-BC11-4A35-9D1F-C8B56D44E244}"/>
    <dgm:cxn modelId="{47ADCDCB-9469-437F-971D-9A7847876B77}" type="presOf" srcId="{03760581-3077-46CC-A047-044CCB08DE09}" destId="{B9C87496-D0F6-4B09-BFF2-A2B327A006A8}" srcOrd="0" destOrd="0" presId="urn:madeinoffice.com/office/officeart/2005/8/layout/ProzessketteMitTextboxenUnterhalb"/>
    <dgm:cxn modelId="{99C78DD9-E0A8-41E2-9FA6-EF1189FF6D1D}" srcId="{03760581-3077-46CC-A047-044CCB08DE09}" destId="{3EB44CB1-04C9-4E63-8285-21DD200740F6}" srcOrd="2" destOrd="0" parTransId="{926F9CA7-95D3-4716-8861-3CF3EC7F6D55}" sibTransId="{F6CA1156-64F0-425F-8F5B-A0B7924DACD0}"/>
    <dgm:cxn modelId="{E4127CF1-9027-4FCD-9C8F-C2E029AFE82C}" srcId="{25AF61FF-CD3F-4320-9644-1A666005F5D3}" destId="{88E841CF-01DA-439D-926E-9D9BE433561D}" srcOrd="2" destOrd="0" parTransId="{644F8D59-76EC-4427-9905-9B671492A068}" sibTransId="{16933660-E66B-4B32-A2A6-B52B518548A6}"/>
    <dgm:cxn modelId="{528AFAF1-6840-4520-BE76-823D556D0A71}" type="presOf" srcId="{C59DC4DA-93F9-4214-A9CB-45E6CF0BD86B}" destId="{A021C2CC-D719-46C8-839C-ACBC3C9F8C0D}" srcOrd="0" destOrd="0" presId="urn:madeinoffice.com/office/officeart/2005/8/layout/ProzessketteMitTextboxenUnterhalb"/>
    <dgm:cxn modelId="{55636DFE-583C-4036-B809-B78FC4F1EA13}" srcId="{03760581-3077-46CC-A047-044CCB08DE09}" destId="{177CE883-C9BD-470B-85B7-D35B8C249778}" srcOrd="1" destOrd="0" parTransId="{EAB87A20-6789-4720-B925-4B49CB297193}" sibTransId="{5E51A3B5-1801-40A8-8C01-73213804CC9C}"/>
    <dgm:cxn modelId="{09AD4F92-C66E-40CE-BBE5-CD54BEC5699A}" type="presParOf" srcId="{85983522-54B0-41CC-BE51-EE1131B3765A}" destId="{17F95ADE-5631-46E2-BFF1-371060555B64}" srcOrd="0" destOrd="0" presId="urn:madeinoffice.com/office/officeart/2005/8/layout/ProzessketteMitTextboxenUnterhalb"/>
    <dgm:cxn modelId="{D4553668-4769-44CF-A239-5F0C94EF40F4}" type="presParOf" srcId="{17F95ADE-5631-46E2-BFF1-371060555B64}" destId="{A1C5A853-5050-41EA-ACF1-F275E495773E}" srcOrd="0" destOrd="0" presId="urn:madeinoffice.com/office/officeart/2005/8/layout/ProzessketteMitTextboxenUnterhalb"/>
    <dgm:cxn modelId="{07C0ED78-44EE-4D9E-A311-8FBB0E88689A}" type="presParOf" srcId="{17F95ADE-5631-46E2-BFF1-371060555B64}" destId="{C6674ABF-D6CA-460F-9513-36418065EBD7}" srcOrd="1" destOrd="0" presId="urn:madeinoffice.com/office/officeart/2005/8/layout/ProzessketteMitTextboxenUnterhalb"/>
    <dgm:cxn modelId="{74539A51-4277-47D6-84D7-06E17D924895}" type="presParOf" srcId="{17F95ADE-5631-46E2-BFF1-371060555B64}" destId="{9B7DC6E4-8254-45C3-B58B-7550C50C724F}" srcOrd="2" destOrd="0" presId="urn:madeinoffice.com/office/officeart/2005/8/layout/ProzessketteMitTextboxenUnterhalb"/>
    <dgm:cxn modelId="{73DC9EB1-8FB5-42E9-8D93-4A6066BABDED}" type="presParOf" srcId="{9B7DC6E4-8254-45C3-B58B-7550C50C724F}" destId="{4E02B19F-7D30-4141-BFC4-97404A2B6501}" srcOrd="0" destOrd="0" presId="urn:madeinoffice.com/office/officeart/2005/8/layout/ProzessketteMitTextboxenUnterhalb"/>
    <dgm:cxn modelId="{E09CDCBF-E0D0-4841-B071-92D5A320886B}" type="presParOf" srcId="{4E02B19F-7D30-4141-BFC4-97404A2B6501}" destId="{5C4FC227-0F1C-4CEF-8ABC-14547FF5B28E}" srcOrd="0" destOrd="0" presId="urn:madeinoffice.com/office/officeart/2005/8/layout/ProzessketteMitTextboxenUnterhalb"/>
    <dgm:cxn modelId="{31AD2198-FDBC-48EE-81F6-0C95414C2C35}" type="presParOf" srcId="{4E02B19F-7D30-4141-BFC4-97404A2B6501}" destId="{745F8DD8-E5E1-4A4E-9516-F2B9D7FCFD6F}" srcOrd="1" destOrd="0" presId="urn:madeinoffice.com/office/officeart/2005/8/layout/ProzessketteMitTextboxenUnterhalb"/>
    <dgm:cxn modelId="{2A182FC7-FE81-4248-BE97-ACDFF8E58662}" type="presParOf" srcId="{9B7DC6E4-8254-45C3-B58B-7550C50C724F}" destId="{F6D1C2DE-608F-4540-93CF-00DF49EF9000}" srcOrd="1" destOrd="0" presId="urn:madeinoffice.com/office/officeart/2005/8/layout/ProzessketteMitTextboxenUnterhalb"/>
    <dgm:cxn modelId="{25F24E9F-3C32-4EC0-AAFC-EAB3A14AFC71}" type="presParOf" srcId="{9B7DC6E4-8254-45C3-B58B-7550C50C724F}" destId="{F026FD45-113A-48F1-9B17-33027E643750}" srcOrd="2" destOrd="0" presId="urn:madeinoffice.com/office/officeart/2005/8/layout/ProzessketteMitTextboxenUnterhalb"/>
    <dgm:cxn modelId="{7A820966-9269-49F9-840C-B6C118150BEC}" type="presParOf" srcId="{F026FD45-113A-48F1-9B17-33027E643750}" destId="{45EACF86-C495-4806-A52E-36FEA7811285}" srcOrd="0" destOrd="0" presId="urn:madeinoffice.com/office/officeart/2005/8/layout/ProzessketteMitTextboxenUnterhalb"/>
    <dgm:cxn modelId="{F0D2EB7C-9931-4987-84D5-598D8B018328}" type="presParOf" srcId="{F026FD45-113A-48F1-9B17-33027E643750}" destId="{A94118BB-20C7-45DD-8142-C87ABB4823AA}" srcOrd="1" destOrd="0" presId="urn:madeinoffice.com/office/officeart/2005/8/layout/ProzessketteMitTextboxenUnterhalb"/>
    <dgm:cxn modelId="{0A65E079-C4ED-4822-A587-8E5D603F625E}" type="presParOf" srcId="{85983522-54B0-41CC-BE51-EE1131B3765A}" destId="{53F64890-D2B8-444E-A483-DADD463175CC}" srcOrd="1" destOrd="0" presId="urn:madeinoffice.com/office/officeart/2005/8/layout/ProzessketteMitTextboxenUnterhalb"/>
    <dgm:cxn modelId="{AA4BB32C-AC71-4011-87BA-6CE8C4FE91D9}" type="presParOf" srcId="{85983522-54B0-41CC-BE51-EE1131B3765A}" destId="{C2864478-2CF3-4603-B8A5-CF48FD770C7D}" srcOrd="2" destOrd="0" presId="urn:madeinoffice.com/office/officeart/2005/8/layout/ProzessketteMitTextboxenUnterhalb"/>
    <dgm:cxn modelId="{759E6C0D-9DFF-4732-9494-DD0A65CCEC6D}" type="presParOf" srcId="{C2864478-2CF3-4603-B8A5-CF48FD770C7D}" destId="{D6810DCB-A642-4571-A83A-FAEF5C5E7078}" srcOrd="0" destOrd="0" presId="urn:madeinoffice.com/office/officeart/2005/8/layout/ProzessketteMitTextboxenUnterhalb"/>
    <dgm:cxn modelId="{D91C69A0-476D-43F6-9C82-05790A1519E2}" type="presParOf" srcId="{C2864478-2CF3-4603-B8A5-CF48FD770C7D}" destId="{B1207ED9-5F09-4652-BFF5-169BE9A57372}" srcOrd="1" destOrd="0" presId="urn:madeinoffice.com/office/officeart/2005/8/layout/ProzessketteMitTextboxenUnterhalb"/>
    <dgm:cxn modelId="{CCD2986E-BC41-4631-8152-16D7B0BDCF03}" type="presParOf" srcId="{C2864478-2CF3-4603-B8A5-CF48FD770C7D}" destId="{2268A8CE-8192-44A5-B183-A073ECAA38A5}" srcOrd="2" destOrd="0" presId="urn:madeinoffice.com/office/officeart/2005/8/layout/ProzessketteMitTextboxenUnterhalb"/>
    <dgm:cxn modelId="{8B15A5F8-2458-4F22-96C6-4ADA9E28382C}" type="presParOf" srcId="{2268A8CE-8192-44A5-B183-A073ECAA38A5}" destId="{6A762ED2-F01B-4FF7-BC03-BD36CE1C5C63}" srcOrd="0" destOrd="0" presId="urn:madeinoffice.com/office/officeart/2005/8/layout/ProzessketteMitTextboxenUnterhalb"/>
    <dgm:cxn modelId="{F3A8C80A-9130-4405-9F7D-A4EBE8EE05AC}" type="presParOf" srcId="{6A762ED2-F01B-4FF7-BC03-BD36CE1C5C63}" destId="{71E3D0DB-5CEC-400D-BB3C-BA4453200D87}" srcOrd="0" destOrd="0" presId="urn:madeinoffice.com/office/officeart/2005/8/layout/ProzessketteMitTextboxenUnterhalb"/>
    <dgm:cxn modelId="{596E41C7-6C20-44A9-A12D-DB18F61478D5}" type="presParOf" srcId="{6A762ED2-F01B-4FF7-BC03-BD36CE1C5C63}" destId="{03BCE79E-19A3-4D8C-960B-CA7DB00C5AE4}" srcOrd="1" destOrd="0" presId="urn:madeinoffice.com/office/officeart/2005/8/layout/ProzessketteMitTextboxenUnterhalb"/>
    <dgm:cxn modelId="{4340ECA1-8CFA-408B-BFC4-E10CC548A250}" type="presParOf" srcId="{2268A8CE-8192-44A5-B183-A073ECAA38A5}" destId="{379734FE-23D7-4F06-B1FF-812EE57861F0}" srcOrd="1" destOrd="0" presId="urn:madeinoffice.com/office/officeart/2005/8/layout/ProzessketteMitTextboxenUnterhalb"/>
    <dgm:cxn modelId="{8D8FC57A-0917-448A-8173-CC0925B0F3B1}" type="presParOf" srcId="{2268A8CE-8192-44A5-B183-A073ECAA38A5}" destId="{9A39F83B-1622-4942-93A1-1C7D030CF987}" srcOrd="2" destOrd="0" presId="urn:madeinoffice.com/office/officeart/2005/8/layout/ProzessketteMitTextboxenUnterhalb"/>
    <dgm:cxn modelId="{CCECE405-A8E4-48A1-A657-3C36A604F5CE}" type="presParOf" srcId="{9A39F83B-1622-4942-93A1-1C7D030CF987}" destId="{8A0A0400-8AE2-47BE-8145-41AE60A88AE4}" srcOrd="0" destOrd="0" presId="urn:madeinoffice.com/office/officeart/2005/8/layout/ProzessketteMitTextboxenUnterhalb"/>
    <dgm:cxn modelId="{6F094AE8-A63D-47E3-A006-FDDE44D15046}" type="presParOf" srcId="{9A39F83B-1622-4942-93A1-1C7D030CF987}" destId="{F1069177-A7AD-4B96-9C82-933B0EFEC5B1}" srcOrd="1" destOrd="0" presId="urn:madeinoffice.com/office/officeart/2005/8/layout/ProzessketteMitTextboxenUnterhalb"/>
    <dgm:cxn modelId="{70007839-0E7D-4C92-BEE0-0D10E70D114E}" type="presParOf" srcId="{2268A8CE-8192-44A5-B183-A073ECAA38A5}" destId="{EFF4897E-1846-46AC-B4E9-2E3ACF702459}" srcOrd="3" destOrd="0" presId="urn:madeinoffice.com/office/officeart/2005/8/layout/ProzessketteMitTextboxenUnterhalb"/>
    <dgm:cxn modelId="{BE4BC601-425F-42BD-AEAF-322C5F433118}" type="presParOf" srcId="{2268A8CE-8192-44A5-B183-A073ECAA38A5}" destId="{CB8038BD-180F-4CF2-A930-8D9A53F636BA}" srcOrd="4" destOrd="0" presId="urn:madeinoffice.com/office/officeart/2005/8/layout/ProzessketteMitTextboxenUnterhalb"/>
    <dgm:cxn modelId="{1982C728-6824-4639-A49E-1BBEF0477778}" type="presParOf" srcId="{CB8038BD-180F-4CF2-A930-8D9A53F636BA}" destId="{CF05CDD1-A50E-491D-AE92-D50189BE6975}" srcOrd="0" destOrd="0" presId="urn:madeinoffice.com/office/officeart/2005/8/layout/ProzessketteMitTextboxenUnterhalb"/>
    <dgm:cxn modelId="{C75262A5-E4E7-4681-A10D-A2F1AC06A1B8}" type="presParOf" srcId="{CB8038BD-180F-4CF2-A930-8D9A53F636BA}" destId="{D7ACFF19-40E9-428A-B4C4-0B4D2E78B3A5}" srcOrd="1" destOrd="0" presId="urn:madeinoffice.com/office/officeart/2005/8/layout/ProzessketteMitTextboxenUnterhalb"/>
    <dgm:cxn modelId="{FA0275A9-1481-4B16-9A9C-B6504E7A3676}" type="presParOf" srcId="{2268A8CE-8192-44A5-B183-A073ECAA38A5}" destId="{3B15203B-49FD-428E-8079-A214BC045333}" srcOrd="5" destOrd="0" presId="urn:madeinoffice.com/office/officeart/2005/8/layout/ProzessketteMitTextboxenUnterhalb"/>
    <dgm:cxn modelId="{23786531-1039-4C07-8842-9938CE507ECB}" type="presParOf" srcId="{2268A8CE-8192-44A5-B183-A073ECAA38A5}" destId="{D4E1FF25-6650-4C30-8700-AAD79145299F}" srcOrd="6" destOrd="0" presId="urn:madeinoffice.com/office/officeart/2005/8/layout/ProzessketteMitTextboxenUnterhalb"/>
    <dgm:cxn modelId="{2931A9DA-AD42-4B8C-83D3-0692E3709A38}" type="presParOf" srcId="{D4E1FF25-6650-4C30-8700-AAD79145299F}" destId="{BB4EF2ED-4BB7-4450-81F5-DDC2A2CE8B08}" srcOrd="0" destOrd="0" presId="urn:madeinoffice.com/office/officeart/2005/8/layout/ProzessketteMitTextboxenUnterhalb"/>
    <dgm:cxn modelId="{9D8A3367-64C4-4357-BA88-5BEB1976F647}" type="presParOf" srcId="{D4E1FF25-6650-4C30-8700-AAD79145299F}" destId="{6D8D533F-6F7A-4D67-ACA6-D2CF39DF6834}" srcOrd="1" destOrd="0" presId="urn:madeinoffice.com/office/officeart/2005/8/layout/ProzessketteMitTextboxenUnterhalb"/>
    <dgm:cxn modelId="{21423924-B852-47C1-B1A3-2FB907F9D153}" type="presParOf" srcId="{85983522-54B0-41CC-BE51-EE1131B3765A}" destId="{78597477-A321-4F23-9485-6C0CAF4D9740}" srcOrd="3" destOrd="0" presId="urn:madeinoffice.com/office/officeart/2005/8/layout/ProzessketteMitTextboxenUnterhalb"/>
    <dgm:cxn modelId="{2CA5827D-6AF1-4F78-8A75-3FD7A714EB45}" type="presParOf" srcId="{85983522-54B0-41CC-BE51-EE1131B3765A}" destId="{3357DAA5-6FCE-4010-AFC4-061C9CFBA314}" srcOrd="4" destOrd="0" presId="urn:madeinoffice.com/office/officeart/2005/8/layout/ProzessketteMitTextboxenUnterhalb"/>
    <dgm:cxn modelId="{C611C9A8-8DE2-477D-8E02-AA4EE0C733EC}" type="presParOf" srcId="{3357DAA5-6FCE-4010-AFC4-061C9CFBA314}" destId="{9A81DEE1-2736-4E00-8FFE-BFDEECDA2D26}" srcOrd="0" destOrd="0" presId="urn:madeinoffice.com/office/officeart/2005/8/layout/ProzessketteMitTextboxenUnterhalb"/>
    <dgm:cxn modelId="{F20F74CB-4C76-49B4-BB95-1FB49E25B80E}" type="presParOf" srcId="{3357DAA5-6FCE-4010-AFC4-061C9CFBA314}" destId="{60A4F703-AE08-41B4-9E63-869505154997}" srcOrd="1" destOrd="0" presId="urn:madeinoffice.com/office/officeart/2005/8/layout/ProzessketteMitTextboxenUnterhalb"/>
    <dgm:cxn modelId="{5727D5BD-A0FE-453E-930F-D96B69DAFCBE}" type="presParOf" srcId="{3357DAA5-6FCE-4010-AFC4-061C9CFBA314}" destId="{FDA1E9B5-9107-46AF-B169-D98FC6BFF0D2}" srcOrd="2" destOrd="0" presId="urn:madeinoffice.com/office/officeart/2005/8/layout/ProzessketteMitTextboxenUnterhalb"/>
    <dgm:cxn modelId="{455C4A78-25F9-42FF-B7A3-AA383A9C7EF5}" type="presParOf" srcId="{FDA1E9B5-9107-46AF-B169-D98FC6BFF0D2}" destId="{9118BB27-90B5-4DAF-AF1E-B9AB9686F33B}" srcOrd="0" destOrd="0" presId="urn:madeinoffice.com/office/officeart/2005/8/layout/ProzessketteMitTextboxenUnterhalb"/>
    <dgm:cxn modelId="{9ACBAD89-2786-45DC-97BD-A68B096621B5}" type="presParOf" srcId="{9118BB27-90B5-4DAF-AF1E-B9AB9686F33B}" destId="{69D93163-235A-4AA7-8E97-81BAE0CB0A0D}" srcOrd="0" destOrd="0" presId="urn:madeinoffice.com/office/officeart/2005/8/layout/ProzessketteMitTextboxenUnterhalb"/>
    <dgm:cxn modelId="{5930EF6A-A54A-4B47-B08A-0BF224F0E4E9}" type="presParOf" srcId="{9118BB27-90B5-4DAF-AF1E-B9AB9686F33B}" destId="{7F4998AE-3525-4F97-8641-78BC363FDB7A}" srcOrd="1" destOrd="0" presId="urn:madeinoffice.com/office/officeart/2005/8/layout/ProzessketteMitTextboxenUnterhalb"/>
    <dgm:cxn modelId="{C8C080B4-678E-4D66-AADB-7C555F21A9F5}" type="presParOf" srcId="{FDA1E9B5-9107-46AF-B169-D98FC6BFF0D2}" destId="{5286A28D-B70A-4526-9EC3-76FCD583FD41}" srcOrd="1" destOrd="0" presId="urn:madeinoffice.com/office/officeart/2005/8/layout/ProzessketteMitTextboxenUnterhalb"/>
    <dgm:cxn modelId="{40AF6551-582D-4D3D-BDA6-7A17C2293484}" type="presParOf" srcId="{FDA1E9B5-9107-46AF-B169-D98FC6BFF0D2}" destId="{A7D3CB16-A3EE-4EBE-9D7C-0BE656231FA9}" srcOrd="2" destOrd="0" presId="urn:madeinoffice.com/office/officeart/2005/8/layout/ProzessketteMitTextboxenUnterhalb"/>
    <dgm:cxn modelId="{3651B57A-001E-49A9-B060-3366D8F9B040}" type="presParOf" srcId="{A7D3CB16-A3EE-4EBE-9D7C-0BE656231FA9}" destId="{1AFC2A38-1435-4B8A-AC08-4306718DD5FB}" srcOrd="0" destOrd="0" presId="urn:madeinoffice.com/office/officeart/2005/8/layout/ProzessketteMitTextboxenUnterhalb"/>
    <dgm:cxn modelId="{94529B1C-EF3F-4794-9338-EE0C5D79A389}" type="presParOf" srcId="{A7D3CB16-A3EE-4EBE-9D7C-0BE656231FA9}" destId="{A021C2CC-D719-46C8-839C-ACBC3C9F8C0D}" srcOrd="1" destOrd="0" presId="urn:madeinoffice.com/office/officeart/2005/8/layout/ProzessketteMitTextboxenUnterhalb"/>
    <dgm:cxn modelId="{9077E819-D1D4-475C-985F-D1D1545A2782}" type="presParOf" srcId="{85983522-54B0-41CC-BE51-EE1131B3765A}" destId="{E2892283-009F-4687-BBE6-F21B5163452B}" srcOrd="5" destOrd="0" presId="urn:madeinoffice.com/office/officeart/2005/8/layout/ProzessketteMitTextboxenUnterhalb"/>
    <dgm:cxn modelId="{AE0D64A4-6E32-4471-99BD-5FA20ED031CA}" type="presParOf" srcId="{85983522-54B0-41CC-BE51-EE1131B3765A}" destId="{D35B35A5-EE90-47D1-9465-B3E9086B356B}" srcOrd="6" destOrd="0" presId="urn:madeinoffice.com/office/officeart/2005/8/layout/ProzessketteMitTextboxenUnterhalb"/>
    <dgm:cxn modelId="{F099CECA-BDF6-45F0-BD23-4F662C0ACF63}" type="presParOf" srcId="{D35B35A5-EE90-47D1-9465-B3E9086B356B}" destId="{2BD4F195-137F-42F9-A1DA-1CA82C3F158D}" srcOrd="0" destOrd="0" presId="urn:madeinoffice.com/office/officeart/2005/8/layout/ProzessketteMitTextboxenUnterhalb"/>
    <dgm:cxn modelId="{A04EB328-9B95-4B6D-9577-D9308A222909}" type="presParOf" srcId="{D35B35A5-EE90-47D1-9465-B3E9086B356B}" destId="{B9C87496-D0F6-4B09-BFF2-A2B327A006A8}" srcOrd="1" destOrd="0" presId="urn:madeinoffice.com/office/officeart/2005/8/layout/ProzessketteMitTextboxenUnterhalb"/>
    <dgm:cxn modelId="{BEC8365B-91A6-4708-8B75-CE6853DF63A2}" type="presParOf" srcId="{D35B35A5-EE90-47D1-9465-B3E9086B356B}" destId="{9EA5AAF7-1B9C-47A7-B1F5-96160C009039}" srcOrd="2" destOrd="0" presId="urn:madeinoffice.com/office/officeart/2005/8/layout/ProzessketteMitTextboxenUnterhalb"/>
    <dgm:cxn modelId="{69747912-94E1-4CB4-9C0D-1F0C00D1DA5F}" type="presParOf" srcId="{9EA5AAF7-1B9C-47A7-B1F5-96160C009039}" destId="{827428F4-EB7C-410F-9783-F670DCA3F3E9}" srcOrd="0" destOrd="0" presId="urn:madeinoffice.com/office/officeart/2005/8/layout/ProzessketteMitTextboxenUnterhalb"/>
    <dgm:cxn modelId="{D6B2A53C-CE0C-4180-9C31-02F959DF1DE7}" type="presParOf" srcId="{827428F4-EB7C-410F-9783-F670DCA3F3E9}" destId="{12492890-BADB-43A0-BC98-58FBEFF187C3}" srcOrd="0" destOrd="0" presId="urn:madeinoffice.com/office/officeart/2005/8/layout/ProzessketteMitTextboxenUnterhalb"/>
    <dgm:cxn modelId="{E539D9A2-20B1-4A41-BC58-69BF8936CDCC}" type="presParOf" srcId="{827428F4-EB7C-410F-9783-F670DCA3F3E9}" destId="{20956DA1-960D-498E-9874-4233DBAD2086}" srcOrd="1" destOrd="0" presId="urn:madeinoffice.com/office/officeart/2005/8/layout/ProzessketteMitTextboxenUnterhalb"/>
    <dgm:cxn modelId="{D004F0EE-0CA6-4671-810B-C2207DF713AC}" type="presParOf" srcId="{9EA5AAF7-1B9C-47A7-B1F5-96160C009039}" destId="{EB6CD8C9-68B8-402B-962A-85EE95A46975}" srcOrd="1" destOrd="0" presId="urn:madeinoffice.com/office/officeart/2005/8/layout/ProzessketteMitTextboxenUnterhalb"/>
    <dgm:cxn modelId="{0428B595-B8BB-48C0-8389-5EBD54381C68}" type="presParOf" srcId="{9EA5AAF7-1B9C-47A7-B1F5-96160C009039}" destId="{784908CC-9480-4264-AD03-4E374EECF50D}" srcOrd="2" destOrd="0" presId="urn:madeinoffice.com/office/officeart/2005/8/layout/ProzessketteMitTextboxenUnterhalb"/>
    <dgm:cxn modelId="{1F761E9A-E83B-4142-8981-3542A8B1A1B6}" type="presParOf" srcId="{784908CC-9480-4264-AD03-4E374EECF50D}" destId="{9CC77EF6-C13C-47BD-91EF-2E66D143EBD5}" srcOrd="0" destOrd="0" presId="urn:madeinoffice.com/office/officeart/2005/8/layout/ProzessketteMitTextboxenUnterhalb"/>
    <dgm:cxn modelId="{D2544473-9A29-4EE6-BCF9-4ABD162F897E}" type="presParOf" srcId="{784908CC-9480-4264-AD03-4E374EECF50D}" destId="{236FC07F-CDB9-49D5-A77B-136EF5F60196}" srcOrd="1" destOrd="0" presId="urn:madeinoffice.com/office/officeart/2005/8/layout/ProzessketteMitTextboxenUnterhalb"/>
    <dgm:cxn modelId="{E7528641-E3FA-468B-9A53-3835B56632F7}" type="presParOf" srcId="{9EA5AAF7-1B9C-47A7-B1F5-96160C009039}" destId="{EFA15675-88EE-490A-B00A-7949491FFF10}" srcOrd="3" destOrd="0" presId="urn:madeinoffice.com/office/officeart/2005/8/layout/ProzessketteMitTextboxenUnterhalb"/>
    <dgm:cxn modelId="{4775B3A7-794C-4673-8D7F-BAC83278C4FE}" type="presParOf" srcId="{9EA5AAF7-1B9C-47A7-B1F5-96160C009039}" destId="{53FEDFAE-59BD-45E6-B929-4B0AD2234907}" srcOrd="4" destOrd="0" presId="urn:madeinoffice.com/office/officeart/2005/8/layout/ProzessketteMitTextboxenUnterhalb"/>
    <dgm:cxn modelId="{3F540077-F848-4149-BBD2-1E1B5E412713}" type="presParOf" srcId="{53FEDFAE-59BD-45E6-B929-4B0AD2234907}" destId="{4FB432C0-1ABE-40F1-BDB0-E902012FD63C}" srcOrd="0" destOrd="0" presId="urn:madeinoffice.com/office/officeart/2005/8/layout/ProzessketteMitTextboxenUnterhalb"/>
    <dgm:cxn modelId="{5713C6F4-A479-41AA-8445-30F1C3C4FEA4}" type="presParOf" srcId="{53FEDFAE-59BD-45E6-B929-4B0AD2234907}" destId="{F252F413-0DF8-49E3-9A20-2403DCCD0803}" srcOrd="1" destOrd="0" presId="urn:madeinoffice.com/office/officeart/2005/8/layout/ProzessketteMitTextboxenUnterhalb"/>
  </dgm:cxnLst>
  <dgm:bg/>
  <dgm:whole/>
  <dgm:extLst>
    <a:ext uri="http://schemas.microsoft.com/office/drawing/2008/diagram">
      <dsp:dataModelExt xmlns:dsp="http://schemas.microsoft.com/office/drawing/2008/diagram" relId="rId19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25AF61FF-CD3F-4320-9644-1A666005F5D3}" type="doc">
      <dgm:prSet loTypeId="urn:madeinoffice.com/office/officeart/2005/8/layout/ProzessketteMitTextboxenUnterhalb" loCatId="other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98F2F1A7-4A47-4E17-AB3A-363BE2C2C135}">
      <dgm:prSet phldrT="[Text]" custT="1"/>
      <dgm:spPr/>
      <dgm:t>
        <a:bodyPr/>
        <a:lstStyle/>
        <a:p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Phase de préparation</a:t>
          </a:r>
        </a:p>
      </dgm:t>
    </dgm:pt>
    <dgm:pt modelId="{E8F90E9B-F257-4A21-B73C-4532CEC821F5}" type="parTrans" cxnId="{6285F0BC-D552-4056-AF2A-6CE18EAAA8E9}">
      <dgm:prSet/>
      <dgm:spPr/>
      <dgm:t>
        <a:bodyPr/>
        <a:lstStyle/>
        <a:p>
          <a:endParaRPr lang="en-US" sz="1400" b="1">
            <a:solidFill>
              <a:schemeClr val="bg1"/>
            </a:solidFill>
            <a:latin typeface="Reem Kufi Regular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A40B4662-56EA-4825-9EB3-7887EA865A14}" type="sibTrans" cxnId="{6285F0BC-D552-4056-AF2A-6CE18EAAA8E9}">
      <dgm:prSet/>
      <dgm:spPr/>
      <dgm:t>
        <a:bodyPr/>
        <a:lstStyle/>
        <a:p>
          <a:endParaRPr lang="en-US" sz="1400" b="1">
            <a:solidFill>
              <a:schemeClr val="bg1"/>
            </a:solidFill>
            <a:latin typeface="Reem Kufi Regular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64ED7F40-5AA2-456C-83D8-70D4068E4A66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rgbClr val="92D050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Auto-formation aux principes du machine-learning</a:t>
          </a:r>
        </a:p>
      </dgm:t>
    </dgm:pt>
    <dgm:pt modelId="{A11D4BC6-DCFC-42CE-8F2D-5D526E48A5CE}" type="parTrans" cxnId="{8BDC8791-C7DC-48EB-AE2B-C3D73347034E}">
      <dgm:prSet/>
      <dgm:spPr/>
      <dgm:t>
        <a:bodyPr/>
        <a:lstStyle/>
        <a:p>
          <a:endParaRPr lang="fr-FR"/>
        </a:p>
      </dgm:t>
    </dgm:pt>
    <dgm:pt modelId="{FE33E613-6E3A-45C8-B821-C76A6881D16A}" type="sibTrans" cxnId="{8BDC8791-C7DC-48EB-AE2B-C3D73347034E}">
      <dgm:prSet/>
      <dgm:spPr/>
      <dgm:t>
        <a:bodyPr/>
        <a:lstStyle/>
        <a:p>
          <a:endParaRPr lang="fr-FR"/>
        </a:p>
      </dgm:t>
    </dgm:pt>
    <dgm:pt modelId="{03760581-3077-46CC-A047-044CCB08DE09}">
      <dgm:prSet phldrT="[Text]" custT="1"/>
      <dgm:spPr/>
      <dgm:t>
        <a:bodyPr/>
        <a:lstStyle/>
        <a:p>
          <a:pPr algn="ctr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Finalisation du projet</a:t>
          </a:r>
        </a:p>
      </dgm:t>
    </dgm:pt>
    <dgm:pt modelId="{79C83EEF-06A9-4255-A205-C8C7C3327A8E}" type="parTrans" cxnId="{EAEDC101-C8B8-462B-BFC4-5D1DCCB77779}">
      <dgm:prSet/>
      <dgm:spPr/>
      <dgm:t>
        <a:bodyPr/>
        <a:lstStyle/>
        <a:p>
          <a:endParaRPr lang="fr-FR"/>
        </a:p>
      </dgm:t>
    </dgm:pt>
    <dgm:pt modelId="{AF58A036-82F8-45CD-8F80-83AC587796CD}" type="sibTrans" cxnId="{EAEDC101-C8B8-462B-BFC4-5D1DCCB77779}">
      <dgm:prSet/>
      <dgm:spPr/>
      <dgm:t>
        <a:bodyPr/>
        <a:lstStyle/>
        <a:p>
          <a:endParaRPr lang="fr-FR"/>
        </a:p>
      </dgm:t>
    </dgm:pt>
    <dgm:pt modelId="{7401B0DE-61BF-4A88-BB5B-B392E0E49FB6}">
      <dgm:prSet phldrT="[Text]" custT="1"/>
      <dgm:spPr/>
      <dgm:t>
        <a:bodyPr/>
        <a:lstStyle/>
        <a:p>
          <a:pPr algn="ctr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Choix des </a:t>
          </a:r>
          <a:r>
            <a:rPr lang="fr-FR" sz="1600" b="1" noProof="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applications</a:t>
          </a:r>
        </a:p>
      </dgm:t>
    </dgm:pt>
    <dgm:pt modelId="{F84B43F1-7255-4C67-9996-27C0C5A4B06D}" type="parTrans" cxnId="{AA03D7A4-8B06-446B-97D2-A5BEAA155443}">
      <dgm:prSet/>
      <dgm:spPr/>
      <dgm:t>
        <a:bodyPr/>
        <a:lstStyle/>
        <a:p>
          <a:endParaRPr lang="fr-FR"/>
        </a:p>
      </dgm:t>
    </dgm:pt>
    <dgm:pt modelId="{0BFC7983-B561-4C4A-A69C-6D23B1A01810}" type="sibTrans" cxnId="{AA03D7A4-8B06-446B-97D2-A5BEAA155443}">
      <dgm:prSet/>
      <dgm:spPr/>
      <dgm:t>
        <a:bodyPr/>
        <a:lstStyle/>
        <a:p>
          <a:endParaRPr lang="fr-FR"/>
        </a:p>
      </dgm:t>
    </dgm:pt>
    <dgm:pt modelId="{5ACF19B5-E364-4396-9C9F-0C6F6678B543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rgbClr val="92D050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s techniques de compréhension de texte</a:t>
          </a:r>
        </a:p>
      </dgm:t>
    </dgm:pt>
    <dgm:pt modelId="{5C011B18-62E2-41D3-9672-24E5251FE749}" type="parTrans" cxnId="{F9C773B4-0458-4640-B278-85BBA57855FA}">
      <dgm:prSet/>
      <dgm:spPr/>
      <dgm:t>
        <a:bodyPr/>
        <a:lstStyle/>
        <a:p>
          <a:endParaRPr lang="fr-FR"/>
        </a:p>
      </dgm:t>
    </dgm:pt>
    <dgm:pt modelId="{017DA7CA-48AC-4AE3-B206-FDD51FB11C4F}" type="sibTrans" cxnId="{F9C773B4-0458-4640-B278-85BBA57855FA}">
      <dgm:prSet/>
      <dgm:spPr/>
      <dgm:t>
        <a:bodyPr/>
        <a:lstStyle/>
        <a:p>
          <a:endParaRPr lang="fr-FR"/>
        </a:p>
      </dgm:t>
    </dgm:pt>
    <dgm:pt modelId="{88E841CF-01DA-439D-926E-9D9BE433561D}">
      <dgm:prSet phldrT="[Text]" custT="1"/>
      <dgm:spPr/>
      <dgm:t>
        <a:bodyPr/>
        <a:lstStyle/>
        <a:p>
          <a:pPr algn="ctr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Developpement des applications</a:t>
          </a:r>
        </a:p>
      </dgm:t>
    </dgm:pt>
    <dgm:pt modelId="{644F8D59-76EC-4427-9905-9B671492A068}" type="parTrans" cxnId="{E4127CF1-9027-4FCD-9C8F-C2E029AFE82C}">
      <dgm:prSet/>
      <dgm:spPr/>
      <dgm:t>
        <a:bodyPr/>
        <a:lstStyle/>
        <a:p>
          <a:endParaRPr lang="fr-FR"/>
        </a:p>
      </dgm:t>
    </dgm:pt>
    <dgm:pt modelId="{16933660-E66B-4B32-A2A6-B52B518548A6}" type="sibTrans" cxnId="{E4127CF1-9027-4FCD-9C8F-C2E029AFE82C}">
      <dgm:prSet/>
      <dgm:spPr/>
      <dgm:t>
        <a:bodyPr/>
        <a:lstStyle/>
        <a:p>
          <a:endParaRPr lang="fr-FR"/>
        </a:p>
      </dgm:t>
    </dgm:pt>
    <dgm:pt modelId="{589A1FC3-BFD8-4A0E-ADAF-6FE60C73F018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rgbClr val="92D050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u moteur de recherche</a:t>
          </a:r>
        </a:p>
      </dgm:t>
    </dgm:pt>
    <dgm:pt modelId="{3A39BAAF-F505-4013-A509-C21F50B4A0F8}" type="parTrans" cxnId="{1F393738-3E8F-42E0-A8F5-24F4E132D2FA}">
      <dgm:prSet/>
      <dgm:spPr/>
      <dgm:t>
        <a:bodyPr/>
        <a:lstStyle/>
        <a:p>
          <a:endParaRPr lang="fr-FR"/>
        </a:p>
      </dgm:t>
    </dgm:pt>
    <dgm:pt modelId="{95972418-F57C-4C27-8440-DB266D1228D0}" type="sibTrans" cxnId="{1F393738-3E8F-42E0-A8F5-24F4E132D2FA}">
      <dgm:prSet/>
      <dgm:spPr/>
      <dgm:t>
        <a:bodyPr/>
        <a:lstStyle/>
        <a:p>
          <a:endParaRPr lang="fr-FR"/>
        </a:p>
      </dgm:t>
    </dgm:pt>
    <dgm:pt modelId="{A3B944DE-23A4-44C1-980E-09A42B5B8860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rgbClr val="92D050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 catégorisation de texte</a:t>
          </a:r>
        </a:p>
      </dgm:t>
    </dgm:pt>
    <dgm:pt modelId="{40AC23C9-6406-4482-9607-6FC9B5AC5450}" type="parTrans" cxnId="{9B7681B1-DB26-4516-B890-902C51C2897C}">
      <dgm:prSet/>
      <dgm:spPr/>
      <dgm:t>
        <a:bodyPr/>
        <a:lstStyle/>
        <a:p>
          <a:endParaRPr lang="fr-FR"/>
        </a:p>
      </dgm:t>
    </dgm:pt>
    <dgm:pt modelId="{969110F3-28A2-4DEC-BE88-F2940F15FD37}" type="sibTrans" cxnId="{9B7681B1-DB26-4516-B890-902C51C2897C}">
      <dgm:prSet/>
      <dgm:spPr/>
      <dgm:t>
        <a:bodyPr/>
        <a:lstStyle/>
        <a:p>
          <a:endParaRPr lang="fr-FR"/>
        </a:p>
      </dgm:t>
    </dgm:pt>
    <dgm:pt modelId="{1D88034A-4C78-4928-BB91-7A38A6AD0A74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rgbClr val="92D050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 la détection de spam</a:t>
          </a:r>
        </a:p>
      </dgm:t>
    </dgm:pt>
    <dgm:pt modelId="{B5D6E227-EE29-4E11-B28C-C915C9D2940D}" type="parTrans" cxnId="{4947AB2B-E090-4A5C-972E-AEA89CC334A5}">
      <dgm:prSet/>
      <dgm:spPr/>
      <dgm:t>
        <a:bodyPr/>
        <a:lstStyle/>
        <a:p>
          <a:endParaRPr lang="fr-FR"/>
        </a:p>
      </dgm:t>
    </dgm:pt>
    <dgm:pt modelId="{A517A3F1-ED74-4FFA-9E10-2F34AF43F1EC}" type="sibTrans" cxnId="{4947AB2B-E090-4A5C-972E-AEA89CC334A5}">
      <dgm:prSet/>
      <dgm:spPr/>
      <dgm:t>
        <a:bodyPr/>
        <a:lstStyle/>
        <a:p>
          <a:endParaRPr lang="fr-FR"/>
        </a:p>
      </dgm:t>
    </dgm:pt>
    <dgm:pt modelId="{D6ED2971-6D42-4425-85A1-614D22BAB2E5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rgbClr val="92D050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 l‘analyse de sentiment</a:t>
          </a:r>
        </a:p>
      </dgm:t>
    </dgm:pt>
    <dgm:pt modelId="{765AD8F4-E71A-4D90-B9D8-B3043D7C6BD7}" type="parTrans" cxnId="{5A453026-6629-4DE7-8BC5-E7B7D98E0B8D}">
      <dgm:prSet/>
      <dgm:spPr/>
      <dgm:t>
        <a:bodyPr/>
        <a:lstStyle/>
        <a:p>
          <a:endParaRPr lang="fr-FR"/>
        </a:p>
      </dgm:t>
    </dgm:pt>
    <dgm:pt modelId="{C3E44D1A-EC69-4F4C-B513-DF8A7BD3E8F3}" type="sibTrans" cxnId="{5A453026-6629-4DE7-8BC5-E7B7D98E0B8D}">
      <dgm:prSet/>
      <dgm:spPr/>
      <dgm:t>
        <a:bodyPr/>
        <a:lstStyle/>
        <a:p>
          <a:endParaRPr lang="fr-FR"/>
        </a:p>
      </dgm:t>
    </dgm:pt>
    <dgm:pt modelId="{13A8598E-0624-4FB9-91CD-68AE606F4216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rgbClr val="92D050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Optmisation des classifieurs</a:t>
          </a:r>
        </a:p>
      </dgm:t>
    </dgm:pt>
    <dgm:pt modelId="{7D64BF9E-CBE1-40EC-8DA7-7E79B9F3BB32}" type="parTrans" cxnId="{CC666AC0-D428-4DEB-AB1E-3F2EA711182B}">
      <dgm:prSet/>
      <dgm:spPr/>
      <dgm:t>
        <a:bodyPr/>
        <a:lstStyle/>
        <a:p>
          <a:endParaRPr lang="fr-FR"/>
        </a:p>
      </dgm:t>
    </dgm:pt>
    <dgm:pt modelId="{2F432F05-BC11-4A35-9D1F-C8B56D44E244}" type="sibTrans" cxnId="{CC666AC0-D428-4DEB-AB1E-3F2EA711182B}">
      <dgm:prSet/>
      <dgm:spPr/>
      <dgm:t>
        <a:bodyPr/>
        <a:lstStyle/>
        <a:p>
          <a:endParaRPr lang="fr-FR"/>
        </a:p>
      </dgm:t>
    </dgm:pt>
    <dgm:pt modelId="{C59DC4DA-93F9-4214-A9CB-45E6CF0BD86B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rgbClr val="92D050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‘une 5ième application: Résumé de texte</a:t>
          </a:r>
        </a:p>
      </dgm:t>
    </dgm:pt>
    <dgm:pt modelId="{AED9F8B4-34EF-4AC4-B711-D3AB199C5A8F}" type="parTrans" cxnId="{FF928B09-F5E8-42B1-BC06-C0F1E20C56F2}">
      <dgm:prSet/>
      <dgm:spPr/>
      <dgm:t>
        <a:bodyPr/>
        <a:lstStyle/>
        <a:p>
          <a:endParaRPr lang="fr-FR"/>
        </a:p>
      </dgm:t>
    </dgm:pt>
    <dgm:pt modelId="{0BEA8993-0972-4AA4-8DDF-E611D4469064}" type="sibTrans" cxnId="{FF928B09-F5E8-42B1-BC06-C0F1E20C56F2}">
      <dgm:prSet/>
      <dgm:spPr/>
      <dgm:t>
        <a:bodyPr/>
        <a:lstStyle/>
        <a:p>
          <a:endParaRPr lang="fr-FR"/>
        </a:p>
      </dgm:t>
    </dgm:pt>
    <dgm:pt modelId="{E5057A02-C73D-4260-B0D1-827FDBEA383E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rgbClr val="FFFF00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Rassemblement des applications en un programme</a:t>
          </a:r>
        </a:p>
      </dgm:t>
    </dgm:pt>
    <dgm:pt modelId="{3BB41778-B2C3-467B-B475-D409B278E0FE}" type="parTrans" cxnId="{DE1D9D7A-4657-4DC8-8078-5AB0759E9DCF}">
      <dgm:prSet/>
      <dgm:spPr/>
      <dgm:t>
        <a:bodyPr/>
        <a:lstStyle/>
        <a:p>
          <a:endParaRPr lang="fr-FR"/>
        </a:p>
      </dgm:t>
    </dgm:pt>
    <dgm:pt modelId="{FBFD2920-3055-470D-A42E-9732623F22B9}" type="sibTrans" cxnId="{DE1D9D7A-4657-4DC8-8078-5AB0759E9DCF}">
      <dgm:prSet/>
      <dgm:spPr/>
      <dgm:t>
        <a:bodyPr/>
        <a:lstStyle/>
        <a:p>
          <a:endParaRPr lang="fr-FR"/>
        </a:p>
      </dgm:t>
    </dgm:pt>
    <dgm:pt modelId="{177CE883-C9BD-470B-85B7-D35B8C249778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rgbClr val="FF0000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Réalisation d‘interface graphique (facultatif)</a:t>
          </a:r>
        </a:p>
      </dgm:t>
    </dgm:pt>
    <dgm:pt modelId="{EAB87A20-6789-4720-B925-4B49CB297193}" type="parTrans" cxnId="{55636DFE-583C-4036-B809-B78FC4F1EA13}">
      <dgm:prSet/>
      <dgm:spPr/>
      <dgm:t>
        <a:bodyPr/>
        <a:lstStyle/>
        <a:p>
          <a:endParaRPr lang="fr-FR"/>
        </a:p>
      </dgm:t>
    </dgm:pt>
    <dgm:pt modelId="{5E51A3B5-1801-40A8-8C01-73213804CC9C}" type="sibTrans" cxnId="{55636DFE-583C-4036-B809-B78FC4F1EA13}">
      <dgm:prSet/>
      <dgm:spPr/>
      <dgm:t>
        <a:bodyPr/>
        <a:lstStyle/>
        <a:p>
          <a:endParaRPr lang="fr-FR"/>
        </a:p>
      </dgm:t>
    </dgm:pt>
    <dgm:pt modelId="{3EB44CB1-04C9-4E63-8285-21DD200740F6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rgbClr val="FFFF00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Réalisation des tests</a:t>
          </a:r>
        </a:p>
      </dgm:t>
    </dgm:pt>
    <dgm:pt modelId="{926F9CA7-95D3-4716-8861-3CF3EC7F6D55}" type="parTrans" cxnId="{99C78DD9-E0A8-41E2-9FA6-EF1189FF6D1D}">
      <dgm:prSet/>
      <dgm:spPr/>
      <dgm:t>
        <a:bodyPr/>
        <a:lstStyle/>
        <a:p>
          <a:endParaRPr lang="fr-FR"/>
        </a:p>
      </dgm:t>
    </dgm:pt>
    <dgm:pt modelId="{F6CA1156-64F0-425F-8F5B-A0B7924DACD0}" type="sibTrans" cxnId="{99C78DD9-E0A8-41E2-9FA6-EF1189FF6D1D}">
      <dgm:prSet/>
      <dgm:spPr/>
      <dgm:t>
        <a:bodyPr/>
        <a:lstStyle/>
        <a:p>
          <a:endParaRPr lang="fr-FR"/>
        </a:p>
      </dgm:t>
    </dgm:pt>
    <dgm:pt modelId="{85983522-54B0-41CC-BE51-EE1131B3765A}" type="pres">
      <dgm:prSet presAssocID="{25AF61FF-CD3F-4320-9644-1A666005F5D3}" presName="Name0" presStyleCnt="0">
        <dgm:presLayoutVars>
          <dgm:dir/>
        </dgm:presLayoutVars>
      </dgm:prSet>
      <dgm:spPr/>
    </dgm:pt>
    <dgm:pt modelId="{17F95ADE-5631-46E2-BFF1-371060555B64}" type="pres">
      <dgm:prSet presAssocID="{98F2F1A7-4A47-4E17-AB3A-363BE2C2C135}" presName="composite" presStyleCnt="0"/>
      <dgm:spPr/>
    </dgm:pt>
    <dgm:pt modelId="{A1C5A853-5050-41EA-ACF1-F275E495773E}" type="pres">
      <dgm:prSet presAssocID="{98F2F1A7-4A47-4E17-AB3A-363BE2C2C135}" presName="background" presStyleLbl="revTx" presStyleIdx="0" presStyleCnt="15"/>
      <dgm:spPr/>
    </dgm:pt>
    <dgm:pt modelId="{C6674ABF-D6CA-460F-9513-36418065EBD7}" type="pres">
      <dgm:prSet presAssocID="{98F2F1A7-4A47-4E17-AB3A-363BE2C2C135}" presName="txLvl1" presStyleLbl="alignNode1" presStyleIdx="0" presStyleCnt="15"/>
      <dgm:spPr/>
    </dgm:pt>
    <dgm:pt modelId="{9B7DC6E4-8254-45C3-B58B-7550C50C724F}" type="pres">
      <dgm:prSet presAssocID="{98F2F1A7-4A47-4E17-AB3A-363BE2C2C135}" presName="lin" presStyleCnt="0"/>
      <dgm:spPr/>
    </dgm:pt>
    <dgm:pt modelId="{4E02B19F-7D30-4141-BFC4-97404A2B6501}" type="pres">
      <dgm:prSet presAssocID="{64ED7F40-5AA2-456C-83D8-70D4068E4A66}" presName="innerLin" presStyleCnt="0"/>
      <dgm:spPr/>
    </dgm:pt>
    <dgm:pt modelId="{5C4FC227-0F1C-4CEF-8ABC-14547FF5B28E}" type="pres">
      <dgm:prSet presAssocID="{64ED7F40-5AA2-456C-83D8-70D4068E4A66}" presName="square" presStyleLbl="alignNode1" presStyleIdx="1" presStyleCnt="15"/>
      <dgm:spPr/>
    </dgm:pt>
    <dgm:pt modelId="{745F8DD8-E5E1-4A4E-9516-F2B9D7FCFD6F}" type="pres">
      <dgm:prSet presAssocID="{64ED7F40-5AA2-456C-83D8-70D4068E4A66}" presName="txLvl2" presStyleLbl="revTx" presStyleIdx="1" presStyleCnt="15"/>
      <dgm:spPr/>
    </dgm:pt>
    <dgm:pt modelId="{F6D1C2DE-608F-4540-93CF-00DF49EF9000}" type="pres">
      <dgm:prSet presAssocID="{FE33E613-6E3A-45C8-B821-C76A6881D16A}" presName="innerSpace" presStyleCnt="0"/>
      <dgm:spPr/>
    </dgm:pt>
    <dgm:pt modelId="{F026FD45-113A-48F1-9B17-33027E643750}" type="pres">
      <dgm:prSet presAssocID="{5ACF19B5-E364-4396-9C9F-0C6F6678B543}" presName="innerLin" presStyleCnt="0"/>
      <dgm:spPr/>
    </dgm:pt>
    <dgm:pt modelId="{45EACF86-C495-4806-A52E-36FEA7811285}" type="pres">
      <dgm:prSet presAssocID="{5ACF19B5-E364-4396-9C9F-0C6F6678B543}" presName="square" presStyleLbl="alignNode1" presStyleIdx="2" presStyleCnt="15"/>
      <dgm:spPr/>
    </dgm:pt>
    <dgm:pt modelId="{A94118BB-20C7-45DD-8142-C87ABB4823AA}" type="pres">
      <dgm:prSet presAssocID="{5ACF19B5-E364-4396-9C9F-0C6F6678B543}" presName="txLvl2" presStyleLbl="revTx" presStyleIdx="2" presStyleCnt="15"/>
      <dgm:spPr/>
    </dgm:pt>
    <dgm:pt modelId="{53F64890-D2B8-444E-A483-DADD463175CC}" type="pres">
      <dgm:prSet presAssocID="{A40B4662-56EA-4825-9EB3-7887EA865A14}" presName="space" presStyleCnt="0"/>
      <dgm:spPr/>
    </dgm:pt>
    <dgm:pt modelId="{C2864478-2CF3-4603-B8A5-CF48FD770C7D}" type="pres">
      <dgm:prSet presAssocID="{7401B0DE-61BF-4A88-BB5B-B392E0E49FB6}" presName="composite" presStyleCnt="0"/>
      <dgm:spPr/>
    </dgm:pt>
    <dgm:pt modelId="{D6810DCB-A642-4571-A83A-FAEF5C5E7078}" type="pres">
      <dgm:prSet presAssocID="{7401B0DE-61BF-4A88-BB5B-B392E0E49FB6}" presName="background" presStyleLbl="revTx" presStyleIdx="3" presStyleCnt="15"/>
      <dgm:spPr/>
    </dgm:pt>
    <dgm:pt modelId="{B1207ED9-5F09-4652-BFF5-169BE9A57372}" type="pres">
      <dgm:prSet presAssocID="{7401B0DE-61BF-4A88-BB5B-B392E0E49FB6}" presName="txLvl1" presStyleLbl="alignNode1" presStyleIdx="3" presStyleCnt="15"/>
      <dgm:spPr/>
    </dgm:pt>
    <dgm:pt modelId="{2268A8CE-8192-44A5-B183-A073ECAA38A5}" type="pres">
      <dgm:prSet presAssocID="{7401B0DE-61BF-4A88-BB5B-B392E0E49FB6}" presName="lin" presStyleCnt="0"/>
      <dgm:spPr/>
    </dgm:pt>
    <dgm:pt modelId="{6A762ED2-F01B-4FF7-BC03-BD36CE1C5C63}" type="pres">
      <dgm:prSet presAssocID="{589A1FC3-BFD8-4A0E-ADAF-6FE60C73F018}" presName="innerLin" presStyleCnt="0"/>
      <dgm:spPr/>
    </dgm:pt>
    <dgm:pt modelId="{71E3D0DB-5CEC-400D-BB3C-BA4453200D87}" type="pres">
      <dgm:prSet presAssocID="{589A1FC3-BFD8-4A0E-ADAF-6FE60C73F018}" presName="square" presStyleLbl="alignNode1" presStyleIdx="4" presStyleCnt="15"/>
      <dgm:spPr/>
    </dgm:pt>
    <dgm:pt modelId="{03BCE79E-19A3-4D8C-960B-CA7DB00C5AE4}" type="pres">
      <dgm:prSet presAssocID="{589A1FC3-BFD8-4A0E-ADAF-6FE60C73F018}" presName="txLvl2" presStyleLbl="revTx" presStyleIdx="4" presStyleCnt="15"/>
      <dgm:spPr/>
    </dgm:pt>
    <dgm:pt modelId="{379734FE-23D7-4F06-B1FF-812EE57861F0}" type="pres">
      <dgm:prSet presAssocID="{95972418-F57C-4C27-8440-DB266D1228D0}" presName="innerSpace" presStyleCnt="0"/>
      <dgm:spPr/>
    </dgm:pt>
    <dgm:pt modelId="{9A39F83B-1622-4942-93A1-1C7D030CF987}" type="pres">
      <dgm:prSet presAssocID="{A3B944DE-23A4-44C1-980E-09A42B5B8860}" presName="innerLin" presStyleCnt="0"/>
      <dgm:spPr/>
    </dgm:pt>
    <dgm:pt modelId="{8A0A0400-8AE2-47BE-8145-41AE60A88AE4}" type="pres">
      <dgm:prSet presAssocID="{A3B944DE-23A4-44C1-980E-09A42B5B8860}" presName="square" presStyleLbl="alignNode1" presStyleIdx="5" presStyleCnt="15"/>
      <dgm:spPr/>
    </dgm:pt>
    <dgm:pt modelId="{F1069177-A7AD-4B96-9C82-933B0EFEC5B1}" type="pres">
      <dgm:prSet presAssocID="{A3B944DE-23A4-44C1-980E-09A42B5B8860}" presName="txLvl2" presStyleLbl="revTx" presStyleIdx="5" presStyleCnt="15"/>
      <dgm:spPr/>
    </dgm:pt>
    <dgm:pt modelId="{EFF4897E-1846-46AC-B4E9-2E3ACF702459}" type="pres">
      <dgm:prSet presAssocID="{969110F3-28A2-4DEC-BE88-F2940F15FD37}" presName="innerSpace" presStyleCnt="0"/>
      <dgm:spPr/>
    </dgm:pt>
    <dgm:pt modelId="{CB8038BD-180F-4CF2-A930-8D9A53F636BA}" type="pres">
      <dgm:prSet presAssocID="{1D88034A-4C78-4928-BB91-7A38A6AD0A74}" presName="innerLin" presStyleCnt="0"/>
      <dgm:spPr/>
    </dgm:pt>
    <dgm:pt modelId="{CF05CDD1-A50E-491D-AE92-D50189BE6975}" type="pres">
      <dgm:prSet presAssocID="{1D88034A-4C78-4928-BB91-7A38A6AD0A74}" presName="square" presStyleLbl="alignNode1" presStyleIdx="6" presStyleCnt="15"/>
      <dgm:spPr/>
    </dgm:pt>
    <dgm:pt modelId="{D7ACFF19-40E9-428A-B4C4-0B4D2E78B3A5}" type="pres">
      <dgm:prSet presAssocID="{1D88034A-4C78-4928-BB91-7A38A6AD0A74}" presName="txLvl2" presStyleLbl="revTx" presStyleIdx="6" presStyleCnt="15"/>
      <dgm:spPr/>
    </dgm:pt>
    <dgm:pt modelId="{3B15203B-49FD-428E-8079-A214BC045333}" type="pres">
      <dgm:prSet presAssocID="{A517A3F1-ED74-4FFA-9E10-2F34AF43F1EC}" presName="innerSpace" presStyleCnt="0"/>
      <dgm:spPr/>
    </dgm:pt>
    <dgm:pt modelId="{D4E1FF25-6650-4C30-8700-AAD79145299F}" type="pres">
      <dgm:prSet presAssocID="{D6ED2971-6D42-4425-85A1-614D22BAB2E5}" presName="innerLin" presStyleCnt="0"/>
      <dgm:spPr/>
    </dgm:pt>
    <dgm:pt modelId="{BB4EF2ED-4BB7-4450-81F5-DDC2A2CE8B08}" type="pres">
      <dgm:prSet presAssocID="{D6ED2971-6D42-4425-85A1-614D22BAB2E5}" presName="square" presStyleLbl="alignNode1" presStyleIdx="7" presStyleCnt="15"/>
      <dgm:spPr/>
    </dgm:pt>
    <dgm:pt modelId="{6D8D533F-6F7A-4D67-ACA6-D2CF39DF6834}" type="pres">
      <dgm:prSet presAssocID="{D6ED2971-6D42-4425-85A1-614D22BAB2E5}" presName="txLvl2" presStyleLbl="revTx" presStyleIdx="7" presStyleCnt="15"/>
      <dgm:spPr/>
    </dgm:pt>
    <dgm:pt modelId="{78597477-A321-4F23-9485-6C0CAF4D9740}" type="pres">
      <dgm:prSet presAssocID="{0BFC7983-B561-4C4A-A69C-6D23B1A01810}" presName="space" presStyleCnt="0"/>
      <dgm:spPr/>
    </dgm:pt>
    <dgm:pt modelId="{3357DAA5-6FCE-4010-AFC4-061C9CFBA314}" type="pres">
      <dgm:prSet presAssocID="{88E841CF-01DA-439D-926E-9D9BE433561D}" presName="composite" presStyleCnt="0"/>
      <dgm:spPr/>
    </dgm:pt>
    <dgm:pt modelId="{9A81DEE1-2736-4E00-8FFE-BFDEECDA2D26}" type="pres">
      <dgm:prSet presAssocID="{88E841CF-01DA-439D-926E-9D9BE433561D}" presName="background" presStyleLbl="revTx" presStyleIdx="8" presStyleCnt="15"/>
      <dgm:spPr/>
    </dgm:pt>
    <dgm:pt modelId="{60A4F703-AE08-41B4-9E63-869505154997}" type="pres">
      <dgm:prSet presAssocID="{88E841CF-01DA-439D-926E-9D9BE433561D}" presName="txLvl1" presStyleLbl="alignNode1" presStyleIdx="8" presStyleCnt="15"/>
      <dgm:spPr/>
    </dgm:pt>
    <dgm:pt modelId="{FDA1E9B5-9107-46AF-B169-D98FC6BFF0D2}" type="pres">
      <dgm:prSet presAssocID="{88E841CF-01DA-439D-926E-9D9BE433561D}" presName="lin" presStyleCnt="0"/>
      <dgm:spPr/>
    </dgm:pt>
    <dgm:pt modelId="{9118BB27-90B5-4DAF-AF1E-B9AB9686F33B}" type="pres">
      <dgm:prSet presAssocID="{13A8598E-0624-4FB9-91CD-68AE606F4216}" presName="innerLin" presStyleCnt="0"/>
      <dgm:spPr/>
    </dgm:pt>
    <dgm:pt modelId="{69D93163-235A-4AA7-8E97-81BAE0CB0A0D}" type="pres">
      <dgm:prSet presAssocID="{13A8598E-0624-4FB9-91CD-68AE606F4216}" presName="square" presStyleLbl="alignNode1" presStyleIdx="9" presStyleCnt="15"/>
      <dgm:spPr/>
    </dgm:pt>
    <dgm:pt modelId="{7F4998AE-3525-4F97-8641-78BC363FDB7A}" type="pres">
      <dgm:prSet presAssocID="{13A8598E-0624-4FB9-91CD-68AE606F4216}" presName="txLvl2" presStyleLbl="revTx" presStyleIdx="9" presStyleCnt="15"/>
      <dgm:spPr/>
    </dgm:pt>
    <dgm:pt modelId="{5286A28D-B70A-4526-9EC3-76FCD583FD41}" type="pres">
      <dgm:prSet presAssocID="{2F432F05-BC11-4A35-9D1F-C8B56D44E244}" presName="innerSpace" presStyleCnt="0"/>
      <dgm:spPr/>
    </dgm:pt>
    <dgm:pt modelId="{A7D3CB16-A3EE-4EBE-9D7C-0BE656231FA9}" type="pres">
      <dgm:prSet presAssocID="{C59DC4DA-93F9-4214-A9CB-45E6CF0BD86B}" presName="innerLin" presStyleCnt="0"/>
      <dgm:spPr/>
    </dgm:pt>
    <dgm:pt modelId="{1AFC2A38-1435-4B8A-AC08-4306718DD5FB}" type="pres">
      <dgm:prSet presAssocID="{C59DC4DA-93F9-4214-A9CB-45E6CF0BD86B}" presName="square" presStyleLbl="alignNode1" presStyleIdx="10" presStyleCnt="15"/>
      <dgm:spPr/>
    </dgm:pt>
    <dgm:pt modelId="{A021C2CC-D719-46C8-839C-ACBC3C9F8C0D}" type="pres">
      <dgm:prSet presAssocID="{C59DC4DA-93F9-4214-A9CB-45E6CF0BD86B}" presName="txLvl2" presStyleLbl="revTx" presStyleIdx="10" presStyleCnt="15"/>
      <dgm:spPr/>
    </dgm:pt>
    <dgm:pt modelId="{E2892283-009F-4687-BBE6-F21B5163452B}" type="pres">
      <dgm:prSet presAssocID="{16933660-E66B-4B32-A2A6-B52B518548A6}" presName="space" presStyleCnt="0"/>
      <dgm:spPr/>
    </dgm:pt>
    <dgm:pt modelId="{D35B35A5-EE90-47D1-9465-B3E9086B356B}" type="pres">
      <dgm:prSet presAssocID="{03760581-3077-46CC-A047-044CCB08DE09}" presName="composite" presStyleCnt="0"/>
      <dgm:spPr/>
    </dgm:pt>
    <dgm:pt modelId="{2BD4F195-137F-42F9-A1DA-1CA82C3F158D}" type="pres">
      <dgm:prSet presAssocID="{03760581-3077-46CC-A047-044CCB08DE09}" presName="background" presStyleLbl="revTx" presStyleIdx="11" presStyleCnt="15"/>
      <dgm:spPr/>
    </dgm:pt>
    <dgm:pt modelId="{B9C87496-D0F6-4B09-BFF2-A2B327A006A8}" type="pres">
      <dgm:prSet presAssocID="{03760581-3077-46CC-A047-044CCB08DE09}" presName="txLvl1" presStyleLbl="alignNode1" presStyleIdx="11" presStyleCnt="15"/>
      <dgm:spPr/>
    </dgm:pt>
    <dgm:pt modelId="{9EA5AAF7-1B9C-47A7-B1F5-96160C009039}" type="pres">
      <dgm:prSet presAssocID="{03760581-3077-46CC-A047-044CCB08DE09}" presName="lin" presStyleCnt="0"/>
      <dgm:spPr/>
    </dgm:pt>
    <dgm:pt modelId="{827428F4-EB7C-410F-9783-F670DCA3F3E9}" type="pres">
      <dgm:prSet presAssocID="{E5057A02-C73D-4260-B0D1-827FDBEA383E}" presName="innerLin" presStyleCnt="0"/>
      <dgm:spPr/>
    </dgm:pt>
    <dgm:pt modelId="{12492890-BADB-43A0-BC98-58FBEFF187C3}" type="pres">
      <dgm:prSet presAssocID="{E5057A02-C73D-4260-B0D1-827FDBEA383E}" presName="square" presStyleLbl="alignNode1" presStyleIdx="12" presStyleCnt="15"/>
      <dgm:spPr/>
    </dgm:pt>
    <dgm:pt modelId="{20956DA1-960D-498E-9874-4233DBAD2086}" type="pres">
      <dgm:prSet presAssocID="{E5057A02-C73D-4260-B0D1-827FDBEA383E}" presName="txLvl2" presStyleLbl="revTx" presStyleIdx="12" presStyleCnt="15"/>
      <dgm:spPr/>
    </dgm:pt>
    <dgm:pt modelId="{EB6CD8C9-68B8-402B-962A-85EE95A46975}" type="pres">
      <dgm:prSet presAssocID="{FBFD2920-3055-470D-A42E-9732623F22B9}" presName="innerSpace" presStyleCnt="0"/>
      <dgm:spPr/>
    </dgm:pt>
    <dgm:pt modelId="{784908CC-9480-4264-AD03-4E374EECF50D}" type="pres">
      <dgm:prSet presAssocID="{177CE883-C9BD-470B-85B7-D35B8C249778}" presName="innerLin" presStyleCnt="0"/>
      <dgm:spPr/>
    </dgm:pt>
    <dgm:pt modelId="{9CC77EF6-C13C-47BD-91EF-2E66D143EBD5}" type="pres">
      <dgm:prSet presAssocID="{177CE883-C9BD-470B-85B7-D35B8C249778}" presName="square" presStyleLbl="alignNode1" presStyleIdx="13" presStyleCnt="15"/>
      <dgm:spPr/>
    </dgm:pt>
    <dgm:pt modelId="{236FC07F-CDB9-49D5-A77B-136EF5F60196}" type="pres">
      <dgm:prSet presAssocID="{177CE883-C9BD-470B-85B7-D35B8C249778}" presName="txLvl2" presStyleLbl="revTx" presStyleIdx="13" presStyleCnt="15"/>
      <dgm:spPr/>
    </dgm:pt>
    <dgm:pt modelId="{EFA15675-88EE-490A-B00A-7949491FFF10}" type="pres">
      <dgm:prSet presAssocID="{5E51A3B5-1801-40A8-8C01-73213804CC9C}" presName="innerSpace" presStyleCnt="0"/>
      <dgm:spPr/>
    </dgm:pt>
    <dgm:pt modelId="{53FEDFAE-59BD-45E6-B929-4B0AD2234907}" type="pres">
      <dgm:prSet presAssocID="{3EB44CB1-04C9-4E63-8285-21DD200740F6}" presName="innerLin" presStyleCnt="0"/>
      <dgm:spPr/>
    </dgm:pt>
    <dgm:pt modelId="{4FB432C0-1ABE-40F1-BDB0-E902012FD63C}" type="pres">
      <dgm:prSet presAssocID="{3EB44CB1-04C9-4E63-8285-21DD200740F6}" presName="square" presStyleLbl="alignNode1" presStyleIdx="14" presStyleCnt="15"/>
      <dgm:spPr/>
    </dgm:pt>
    <dgm:pt modelId="{F252F413-0DF8-49E3-9A20-2403DCCD0803}" type="pres">
      <dgm:prSet presAssocID="{3EB44CB1-04C9-4E63-8285-21DD200740F6}" presName="txLvl2" presStyleLbl="revTx" presStyleIdx="14" presStyleCnt="15"/>
      <dgm:spPr/>
    </dgm:pt>
  </dgm:ptLst>
  <dgm:cxnLst>
    <dgm:cxn modelId="{EAEDC101-C8B8-462B-BFC4-5D1DCCB77779}" srcId="{25AF61FF-CD3F-4320-9644-1A666005F5D3}" destId="{03760581-3077-46CC-A047-044CCB08DE09}" srcOrd="3" destOrd="0" parTransId="{79C83EEF-06A9-4255-A205-C8C7C3327A8E}" sibTransId="{AF58A036-82F8-45CD-8F80-83AC587796CD}"/>
    <dgm:cxn modelId="{FF928B09-F5E8-42B1-BC06-C0F1E20C56F2}" srcId="{88E841CF-01DA-439D-926E-9D9BE433561D}" destId="{C59DC4DA-93F9-4214-A9CB-45E6CF0BD86B}" srcOrd="1" destOrd="0" parTransId="{AED9F8B4-34EF-4AC4-B711-D3AB199C5A8F}" sibTransId="{0BEA8993-0972-4AA4-8DDF-E611D4469064}"/>
    <dgm:cxn modelId="{D608D618-152A-4960-B5E8-3992B82248A5}" type="presOf" srcId="{88E841CF-01DA-439D-926E-9D9BE433561D}" destId="{60A4F703-AE08-41B4-9E63-869505154997}" srcOrd="0" destOrd="0" presId="urn:madeinoffice.com/office/officeart/2005/8/layout/ProzessketteMitTextboxenUnterhalb"/>
    <dgm:cxn modelId="{ACCADA19-51C7-44D2-B483-A162AEB72186}" type="presOf" srcId="{A3B944DE-23A4-44C1-980E-09A42B5B8860}" destId="{F1069177-A7AD-4B96-9C82-933B0EFEC5B1}" srcOrd="0" destOrd="0" presId="urn:madeinoffice.com/office/officeart/2005/8/layout/ProzessketteMitTextboxenUnterhalb"/>
    <dgm:cxn modelId="{14164620-6CEA-4286-A8EE-C9050F5B6A7F}" type="presOf" srcId="{177CE883-C9BD-470B-85B7-D35B8C249778}" destId="{236FC07F-CDB9-49D5-A77B-136EF5F60196}" srcOrd="0" destOrd="0" presId="urn:madeinoffice.com/office/officeart/2005/8/layout/ProzessketteMitTextboxenUnterhalb"/>
    <dgm:cxn modelId="{5A453026-6629-4DE7-8BC5-E7B7D98E0B8D}" srcId="{7401B0DE-61BF-4A88-BB5B-B392E0E49FB6}" destId="{D6ED2971-6D42-4425-85A1-614D22BAB2E5}" srcOrd="3" destOrd="0" parTransId="{765AD8F4-E71A-4D90-B9D8-B3043D7C6BD7}" sibTransId="{C3E44D1A-EC69-4F4C-B513-DF8A7BD3E8F3}"/>
    <dgm:cxn modelId="{4947AB2B-E090-4A5C-972E-AEA89CC334A5}" srcId="{7401B0DE-61BF-4A88-BB5B-B392E0E49FB6}" destId="{1D88034A-4C78-4928-BB91-7A38A6AD0A74}" srcOrd="2" destOrd="0" parTransId="{B5D6E227-EE29-4E11-B28C-C915C9D2940D}" sibTransId="{A517A3F1-ED74-4FFA-9E10-2F34AF43F1EC}"/>
    <dgm:cxn modelId="{1F393738-3E8F-42E0-A8F5-24F4E132D2FA}" srcId="{7401B0DE-61BF-4A88-BB5B-B392E0E49FB6}" destId="{589A1FC3-BFD8-4A0E-ADAF-6FE60C73F018}" srcOrd="0" destOrd="0" parTransId="{3A39BAAF-F505-4013-A509-C21F50B4A0F8}" sibTransId="{95972418-F57C-4C27-8440-DB266D1228D0}"/>
    <dgm:cxn modelId="{9CE04D5E-9F24-4669-84B4-D390ADAE2F90}" type="presOf" srcId="{3EB44CB1-04C9-4E63-8285-21DD200740F6}" destId="{F252F413-0DF8-49E3-9A20-2403DCCD0803}" srcOrd="0" destOrd="0" presId="urn:madeinoffice.com/office/officeart/2005/8/layout/ProzessketteMitTextboxenUnterhalb"/>
    <dgm:cxn modelId="{2DB20E42-6981-4474-82C9-8D7EE771A346}" type="presOf" srcId="{98F2F1A7-4A47-4E17-AB3A-363BE2C2C135}" destId="{C6674ABF-D6CA-460F-9513-36418065EBD7}" srcOrd="0" destOrd="0" presId="urn:madeinoffice.com/office/officeart/2005/8/layout/ProzessketteMitTextboxenUnterhalb"/>
    <dgm:cxn modelId="{AAEFFE64-396B-431F-BAFC-A96F2351CD58}" type="presOf" srcId="{D6ED2971-6D42-4425-85A1-614D22BAB2E5}" destId="{6D8D533F-6F7A-4D67-ACA6-D2CF39DF6834}" srcOrd="0" destOrd="0" presId="urn:madeinoffice.com/office/officeart/2005/8/layout/ProzessketteMitTextboxenUnterhalb"/>
    <dgm:cxn modelId="{2797A445-851D-43F2-A6EB-7CEA93C25CC6}" type="presOf" srcId="{E5057A02-C73D-4260-B0D1-827FDBEA383E}" destId="{20956DA1-960D-498E-9874-4233DBAD2086}" srcOrd="0" destOrd="0" presId="urn:madeinoffice.com/office/officeart/2005/8/layout/ProzessketteMitTextboxenUnterhalb"/>
    <dgm:cxn modelId="{388CF970-3B92-4B2F-8AA0-619F35A5AA25}" type="presOf" srcId="{25AF61FF-CD3F-4320-9644-1A666005F5D3}" destId="{85983522-54B0-41CC-BE51-EE1131B3765A}" srcOrd="0" destOrd="0" presId="urn:madeinoffice.com/office/officeart/2005/8/layout/ProzessketteMitTextboxenUnterhalb"/>
    <dgm:cxn modelId="{77FE9251-A7CD-4149-B518-4F6D367BACA4}" type="presOf" srcId="{1D88034A-4C78-4928-BB91-7A38A6AD0A74}" destId="{D7ACFF19-40E9-428A-B4C4-0B4D2E78B3A5}" srcOrd="0" destOrd="0" presId="urn:madeinoffice.com/office/officeart/2005/8/layout/ProzessketteMitTextboxenUnterhalb"/>
    <dgm:cxn modelId="{DE1D9D7A-4657-4DC8-8078-5AB0759E9DCF}" srcId="{03760581-3077-46CC-A047-044CCB08DE09}" destId="{E5057A02-C73D-4260-B0D1-827FDBEA383E}" srcOrd="0" destOrd="0" parTransId="{3BB41778-B2C3-467B-B475-D409B278E0FE}" sibTransId="{FBFD2920-3055-470D-A42E-9732623F22B9}"/>
    <dgm:cxn modelId="{79096581-8CD0-4586-8B07-BB67E608915F}" type="presOf" srcId="{589A1FC3-BFD8-4A0E-ADAF-6FE60C73F018}" destId="{03BCE79E-19A3-4D8C-960B-CA7DB00C5AE4}" srcOrd="0" destOrd="0" presId="urn:madeinoffice.com/office/officeart/2005/8/layout/ProzessketteMitTextboxenUnterhalb"/>
    <dgm:cxn modelId="{DA452D8B-2839-4170-8445-96F896BA4F19}" type="presOf" srcId="{5ACF19B5-E364-4396-9C9F-0C6F6678B543}" destId="{A94118BB-20C7-45DD-8142-C87ABB4823AA}" srcOrd="0" destOrd="0" presId="urn:madeinoffice.com/office/officeart/2005/8/layout/ProzessketteMitTextboxenUnterhalb"/>
    <dgm:cxn modelId="{18E7B38B-4E1F-45DF-B268-1D0E239D25F9}" type="presOf" srcId="{13A8598E-0624-4FB9-91CD-68AE606F4216}" destId="{7F4998AE-3525-4F97-8641-78BC363FDB7A}" srcOrd="0" destOrd="0" presId="urn:madeinoffice.com/office/officeart/2005/8/layout/ProzessketteMitTextboxenUnterhalb"/>
    <dgm:cxn modelId="{0D93F18E-4FB1-483B-9C2D-B81727BC5BC1}" type="presOf" srcId="{7401B0DE-61BF-4A88-BB5B-B392E0E49FB6}" destId="{B1207ED9-5F09-4652-BFF5-169BE9A57372}" srcOrd="0" destOrd="0" presId="urn:madeinoffice.com/office/officeart/2005/8/layout/ProzessketteMitTextboxenUnterhalb"/>
    <dgm:cxn modelId="{8BDC8791-C7DC-48EB-AE2B-C3D73347034E}" srcId="{98F2F1A7-4A47-4E17-AB3A-363BE2C2C135}" destId="{64ED7F40-5AA2-456C-83D8-70D4068E4A66}" srcOrd="0" destOrd="0" parTransId="{A11D4BC6-DCFC-42CE-8F2D-5D526E48A5CE}" sibTransId="{FE33E613-6E3A-45C8-B821-C76A6881D16A}"/>
    <dgm:cxn modelId="{22E1B4A4-995E-4E0F-811F-3D137C54DABA}" type="presOf" srcId="{64ED7F40-5AA2-456C-83D8-70D4068E4A66}" destId="{745F8DD8-E5E1-4A4E-9516-F2B9D7FCFD6F}" srcOrd="0" destOrd="0" presId="urn:madeinoffice.com/office/officeart/2005/8/layout/ProzessketteMitTextboxenUnterhalb"/>
    <dgm:cxn modelId="{AA03D7A4-8B06-446B-97D2-A5BEAA155443}" srcId="{25AF61FF-CD3F-4320-9644-1A666005F5D3}" destId="{7401B0DE-61BF-4A88-BB5B-B392E0E49FB6}" srcOrd="1" destOrd="0" parTransId="{F84B43F1-7255-4C67-9996-27C0C5A4B06D}" sibTransId="{0BFC7983-B561-4C4A-A69C-6D23B1A01810}"/>
    <dgm:cxn modelId="{9B7681B1-DB26-4516-B890-902C51C2897C}" srcId="{7401B0DE-61BF-4A88-BB5B-B392E0E49FB6}" destId="{A3B944DE-23A4-44C1-980E-09A42B5B8860}" srcOrd="1" destOrd="0" parTransId="{40AC23C9-6406-4482-9607-6FC9B5AC5450}" sibTransId="{969110F3-28A2-4DEC-BE88-F2940F15FD37}"/>
    <dgm:cxn modelId="{F9C773B4-0458-4640-B278-85BBA57855FA}" srcId="{98F2F1A7-4A47-4E17-AB3A-363BE2C2C135}" destId="{5ACF19B5-E364-4396-9C9F-0C6F6678B543}" srcOrd="1" destOrd="0" parTransId="{5C011B18-62E2-41D3-9672-24E5251FE749}" sibTransId="{017DA7CA-48AC-4AE3-B206-FDD51FB11C4F}"/>
    <dgm:cxn modelId="{6285F0BC-D552-4056-AF2A-6CE18EAAA8E9}" srcId="{25AF61FF-CD3F-4320-9644-1A666005F5D3}" destId="{98F2F1A7-4A47-4E17-AB3A-363BE2C2C135}" srcOrd="0" destOrd="0" parTransId="{E8F90E9B-F257-4A21-B73C-4532CEC821F5}" sibTransId="{A40B4662-56EA-4825-9EB3-7887EA865A14}"/>
    <dgm:cxn modelId="{CC666AC0-D428-4DEB-AB1E-3F2EA711182B}" srcId="{88E841CF-01DA-439D-926E-9D9BE433561D}" destId="{13A8598E-0624-4FB9-91CD-68AE606F4216}" srcOrd="0" destOrd="0" parTransId="{7D64BF9E-CBE1-40EC-8DA7-7E79B9F3BB32}" sibTransId="{2F432F05-BC11-4A35-9D1F-C8B56D44E244}"/>
    <dgm:cxn modelId="{47ADCDCB-9469-437F-971D-9A7847876B77}" type="presOf" srcId="{03760581-3077-46CC-A047-044CCB08DE09}" destId="{B9C87496-D0F6-4B09-BFF2-A2B327A006A8}" srcOrd="0" destOrd="0" presId="urn:madeinoffice.com/office/officeart/2005/8/layout/ProzessketteMitTextboxenUnterhalb"/>
    <dgm:cxn modelId="{99C78DD9-E0A8-41E2-9FA6-EF1189FF6D1D}" srcId="{03760581-3077-46CC-A047-044CCB08DE09}" destId="{3EB44CB1-04C9-4E63-8285-21DD200740F6}" srcOrd="2" destOrd="0" parTransId="{926F9CA7-95D3-4716-8861-3CF3EC7F6D55}" sibTransId="{F6CA1156-64F0-425F-8F5B-A0B7924DACD0}"/>
    <dgm:cxn modelId="{E4127CF1-9027-4FCD-9C8F-C2E029AFE82C}" srcId="{25AF61FF-CD3F-4320-9644-1A666005F5D3}" destId="{88E841CF-01DA-439D-926E-9D9BE433561D}" srcOrd="2" destOrd="0" parTransId="{644F8D59-76EC-4427-9905-9B671492A068}" sibTransId="{16933660-E66B-4B32-A2A6-B52B518548A6}"/>
    <dgm:cxn modelId="{528AFAF1-6840-4520-BE76-823D556D0A71}" type="presOf" srcId="{C59DC4DA-93F9-4214-A9CB-45E6CF0BD86B}" destId="{A021C2CC-D719-46C8-839C-ACBC3C9F8C0D}" srcOrd="0" destOrd="0" presId="urn:madeinoffice.com/office/officeart/2005/8/layout/ProzessketteMitTextboxenUnterhalb"/>
    <dgm:cxn modelId="{55636DFE-583C-4036-B809-B78FC4F1EA13}" srcId="{03760581-3077-46CC-A047-044CCB08DE09}" destId="{177CE883-C9BD-470B-85B7-D35B8C249778}" srcOrd="1" destOrd="0" parTransId="{EAB87A20-6789-4720-B925-4B49CB297193}" sibTransId="{5E51A3B5-1801-40A8-8C01-73213804CC9C}"/>
    <dgm:cxn modelId="{09AD4F92-C66E-40CE-BBE5-CD54BEC5699A}" type="presParOf" srcId="{85983522-54B0-41CC-BE51-EE1131B3765A}" destId="{17F95ADE-5631-46E2-BFF1-371060555B64}" srcOrd="0" destOrd="0" presId="urn:madeinoffice.com/office/officeart/2005/8/layout/ProzessketteMitTextboxenUnterhalb"/>
    <dgm:cxn modelId="{D4553668-4769-44CF-A239-5F0C94EF40F4}" type="presParOf" srcId="{17F95ADE-5631-46E2-BFF1-371060555B64}" destId="{A1C5A853-5050-41EA-ACF1-F275E495773E}" srcOrd="0" destOrd="0" presId="urn:madeinoffice.com/office/officeart/2005/8/layout/ProzessketteMitTextboxenUnterhalb"/>
    <dgm:cxn modelId="{07C0ED78-44EE-4D9E-A311-8FBB0E88689A}" type="presParOf" srcId="{17F95ADE-5631-46E2-BFF1-371060555B64}" destId="{C6674ABF-D6CA-460F-9513-36418065EBD7}" srcOrd="1" destOrd="0" presId="urn:madeinoffice.com/office/officeart/2005/8/layout/ProzessketteMitTextboxenUnterhalb"/>
    <dgm:cxn modelId="{74539A51-4277-47D6-84D7-06E17D924895}" type="presParOf" srcId="{17F95ADE-5631-46E2-BFF1-371060555B64}" destId="{9B7DC6E4-8254-45C3-B58B-7550C50C724F}" srcOrd="2" destOrd="0" presId="urn:madeinoffice.com/office/officeart/2005/8/layout/ProzessketteMitTextboxenUnterhalb"/>
    <dgm:cxn modelId="{73DC9EB1-8FB5-42E9-8D93-4A6066BABDED}" type="presParOf" srcId="{9B7DC6E4-8254-45C3-B58B-7550C50C724F}" destId="{4E02B19F-7D30-4141-BFC4-97404A2B6501}" srcOrd="0" destOrd="0" presId="urn:madeinoffice.com/office/officeart/2005/8/layout/ProzessketteMitTextboxenUnterhalb"/>
    <dgm:cxn modelId="{E09CDCBF-E0D0-4841-B071-92D5A320886B}" type="presParOf" srcId="{4E02B19F-7D30-4141-BFC4-97404A2B6501}" destId="{5C4FC227-0F1C-4CEF-8ABC-14547FF5B28E}" srcOrd="0" destOrd="0" presId="urn:madeinoffice.com/office/officeart/2005/8/layout/ProzessketteMitTextboxenUnterhalb"/>
    <dgm:cxn modelId="{31AD2198-FDBC-48EE-81F6-0C95414C2C35}" type="presParOf" srcId="{4E02B19F-7D30-4141-BFC4-97404A2B6501}" destId="{745F8DD8-E5E1-4A4E-9516-F2B9D7FCFD6F}" srcOrd="1" destOrd="0" presId="urn:madeinoffice.com/office/officeart/2005/8/layout/ProzessketteMitTextboxenUnterhalb"/>
    <dgm:cxn modelId="{2A182FC7-FE81-4248-BE97-ACDFF8E58662}" type="presParOf" srcId="{9B7DC6E4-8254-45C3-B58B-7550C50C724F}" destId="{F6D1C2DE-608F-4540-93CF-00DF49EF9000}" srcOrd="1" destOrd="0" presId="urn:madeinoffice.com/office/officeart/2005/8/layout/ProzessketteMitTextboxenUnterhalb"/>
    <dgm:cxn modelId="{25F24E9F-3C32-4EC0-AAFC-EAB3A14AFC71}" type="presParOf" srcId="{9B7DC6E4-8254-45C3-B58B-7550C50C724F}" destId="{F026FD45-113A-48F1-9B17-33027E643750}" srcOrd="2" destOrd="0" presId="urn:madeinoffice.com/office/officeart/2005/8/layout/ProzessketteMitTextboxenUnterhalb"/>
    <dgm:cxn modelId="{7A820966-9269-49F9-840C-B6C118150BEC}" type="presParOf" srcId="{F026FD45-113A-48F1-9B17-33027E643750}" destId="{45EACF86-C495-4806-A52E-36FEA7811285}" srcOrd="0" destOrd="0" presId="urn:madeinoffice.com/office/officeart/2005/8/layout/ProzessketteMitTextboxenUnterhalb"/>
    <dgm:cxn modelId="{F0D2EB7C-9931-4987-84D5-598D8B018328}" type="presParOf" srcId="{F026FD45-113A-48F1-9B17-33027E643750}" destId="{A94118BB-20C7-45DD-8142-C87ABB4823AA}" srcOrd="1" destOrd="0" presId="urn:madeinoffice.com/office/officeart/2005/8/layout/ProzessketteMitTextboxenUnterhalb"/>
    <dgm:cxn modelId="{0A65E079-C4ED-4822-A587-8E5D603F625E}" type="presParOf" srcId="{85983522-54B0-41CC-BE51-EE1131B3765A}" destId="{53F64890-D2B8-444E-A483-DADD463175CC}" srcOrd="1" destOrd="0" presId="urn:madeinoffice.com/office/officeart/2005/8/layout/ProzessketteMitTextboxenUnterhalb"/>
    <dgm:cxn modelId="{AA4BB32C-AC71-4011-87BA-6CE8C4FE91D9}" type="presParOf" srcId="{85983522-54B0-41CC-BE51-EE1131B3765A}" destId="{C2864478-2CF3-4603-B8A5-CF48FD770C7D}" srcOrd="2" destOrd="0" presId="urn:madeinoffice.com/office/officeart/2005/8/layout/ProzessketteMitTextboxenUnterhalb"/>
    <dgm:cxn modelId="{759E6C0D-9DFF-4732-9494-DD0A65CCEC6D}" type="presParOf" srcId="{C2864478-2CF3-4603-B8A5-CF48FD770C7D}" destId="{D6810DCB-A642-4571-A83A-FAEF5C5E7078}" srcOrd="0" destOrd="0" presId="urn:madeinoffice.com/office/officeart/2005/8/layout/ProzessketteMitTextboxenUnterhalb"/>
    <dgm:cxn modelId="{D91C69A0-476D-43F6-9C82-05790A1519E2}" type="presParOf" srcId="{C2864478-2CF3-4603-B8A5-CF48FD770C7D}" destId="{B1207ED9-5F09-4652-BFF5-169BE9A57372}" srcOrd="1" destOrd="0" presId="urn:madeinoffice.com/office/officeart/2005/8/layout/ProzessketteMitTextboxenUnterhalb"/>
    <dgm:cxn modelId="{CCD2986E-BC41-4631-8152-16D7B0BDCF03}" type="presParOf" srcId="{C2864478-2CF3-4603-B8A5-CF48FD770C7D}" destId="{2268A8CE-8192-44A5-B183-A073ECAA38A5}" srcOrd="2" destOrd="0" presId="urn:madeinoffice.com/office/officeart/2005/8/layout/ProzessketteMitTextboxenUnterhalb"/>
    <dgm:cxn modelId="{8B15A5F8-2458-4F22-96C6-4ADA9E28382C}" type="presParOf" srcId="{2268A8CE-8192-44A5-B183-A073ECAA38A5}" destId="{6A762ED2-F01B-4FF7-BC03-BD36CE1C5C63}" srcOrd="0" destOrd="0" presId="urn:madeinoffice.com/office/officeart/2005/8/layout/ProzessketteMitTextboxenUnterhalb"/>
    <dgm:cxn modelId="{F3A8C80A-9130-4405-9F7D-A4EBE8EE05AC}" type="presParOf" srcId="{6A762ED2-F01B-4FF7-BC03-BD36CE1C5C63}" destId="{71E3D0DB-5CEC-400D-BB3C-BA4453200D87}" srcOrd="0" destOrd="0" presId="urn:madeinoffice.com/office/officeart/2005/8/layout/ProzessketteMitTextboxenUnterhalb"/>
    <dgm:cxn modelId="{596E41C7-6C20-44A9-A12D-DB18F61478D5}" type="presParOf" srcId="{6A762ED2-F01B-4FF7-BC03-BD36CE1C5C63}" destId="{03BCE79E-19A3-4D8C-960B-CA7DB00C5AE4}" srcOrd="1" destOrd="0" presId="urn:madeinoffice.com/office/officeart/2005/8/layout/ProzessketteMitTextboxenUnterhalb"/>
    <dgm:cxn modelId="{4340ECA1-8CFA-408B-BFC4-E10CC548A250}" type="presParOf" srcId="{2268A8CE-8192-44A5-B183-A073ECAA38A5}" destId="{379734FE-23D7-4F06-B1FF-812EE57861F0}" srcOrd="1" destOrd="0" presId="urn:madeinoffice.com/office/officeart/2005/8/layout/ProzessketteMitTextboxenUnterhalb"/>
    <dgm:cxn modelId="{8D8FC57A-0917-448A-8173-CC0925B0F3B1}" type="presParOf" srcId="{2268A8CE-8192-44A5-B183-A073ECAA38A5}" destId="{9A39F83B-1622-4942-93A1-1C7D030CF987}" srcOrd="2" destOrd="0" presId="urn:madeinoffice.com/office/officeart/2005/8/layout/ProzessketteMitTextboxenUnterhalb"/>
    <dgm:cxn modelId="{CCECE405-A8E4-48A1-A657-3C36A604F5CE}" type="presParOf" srcId="{9A39F83B-1622-4942-93A1-1C7D030CF987}" destId="{8A0A0400-8AE2-47BE-8145-41AE60A88AE4}" srcOrd="0" destOrd="0" presId="urn:madeinoffice.com/office/officeart/2005/8/layout/ProzessketteMitTextboxenUnterhalb"/>
    <dgm:cxn modelId="{6F094AE8-A63D-47E3-A006-FDDE44D15046}" type="presParOf" srcId="{9A39F83B-1622-4942-93A1-1C7D030CF987}" destId="{F1069177-A7AD-4B96-9C82-933B0EFEC5B1}" srcOrd="1" destOrd="0" presId="urn:madeinoffice.com/office/officeart/2005/8/layout/ProzessketteMitTextboxenUnterhalb"/>
    <dgm:cxn modelId="{70007839-0E7D-4C92-BEE0-0D10E70D114E}" type="presParOf" srcId="{2268A8CE-8192-44A5-B183-A073ECAA38A5}" destId="{EFF4897E-1846-46AC-B4E9-2E3ACF702459}" srcOrd="3" destOrd="0" presId="urn:madeinoffice.com/office/officeart/2005/8/layout/ProzessketteMitTextboxenUnterhalb"/>
    <dgm:cxn modelId="{BE4BC601-425F-42BD-AEAF-322C5F433118}" type="presParOf" srcId="{2268A8CE-8192-44A5-B183-A073ECAA38A5}" destId="{CB8038BD-180F-4CF2-A930-8D9A53F636BA}" srcOrd="4" destOrd="0" presId="urn:madeinoffice.com/office/officeart/2005/8/layout/ProzessketteMitTextboxenUnterhalb"/>
    <dgm:cxn modelId="{1982C728-6824-4639-A49E-1BBEF0477778}" type="presParOf" srcId="{CB8038BD-180F-4CF2-A930-8D9A53F636BA}" destId="{CF05CDD1-A50E-491D-AE92-D50189BE6975}" srcOrd="0" destOrd="0" presId="urn:madeinoffice.com/office/officeart/2005/8/layout/ProzessketteMitTextboxenUnterhalb"/>
    <dgm:cxn modelId="{C75262A5-E4E7-4681-A10D-A2F1AC06A1B8}" type="presParOf" srcId="{CB8038BD-180F-4CF2-A930-8D9A53F636BA}" destId="{D7ACFF19-40E9-428A-B4C4-0B4D2E78B3A5}" srcOrd="1" destOrd="0" presId="urn:madeinoffice.com/office/officeart/2005/8/layout/ProzessketteMitTextboxenUnterhalb"/>
    <dgm:cxn modelId="{FA0275A9-1481-4B16-9A9C-B6504E7A3676}" type="presParOf" srcId="{2268A8CE-8192-44A5-B183-A073ECAA38A5}" destId="{3B15203B-49FD-428E-8079-A214BC045333}" srcOrd="5" destOrd="0" presId="urn:madeinoffice.com/office/officeart/2005/8/layout/ProzessketteMitTextboxenUnterhalb"/>
    <dgm:cxn modelId="{23786531-1039-4C07-8842-9938CE507ECB}" type="presParOf" srcId="{2268A8CE-8192-44A5-B183-A073ECAA38A5}" destId="{D4E1FF25-6650-4C30-8700-AAD79145299F}" srcOrd="6" destOrd="0" presId="urn:madeinoffice.com/office/officeart/2005/8/layout/ProzessketteMitTextboxenUnterhalb"/>
    <dgm:cxn modelId="{2931A9DA-AD42-4B8C-83D3-0692E3709A38}" type="presParOf" srcId="{D4E1FF25-6650-4C30-8700-AAD79145299F}" destId="{BB4EF2ED-4BB7-4450-81F5-DDC2A2CE8B08}" srcOrd="0" destOrd="0" presId="urn:madeinoffice.com/office/officeart/2005/8/layout/ProzessketteMitTextboxenUnterhalb"/>
    <dgm:cxn modelId="{9D8A3367-64C4-4357-BA88-5BEB1976F647}" type="presParOf" srcId="{D4E1FF25-6650-4C30-8700-AAD79145299F}" destId="{6D8D533F-6F7A-4D67-ACA6-D2CF39DF6834}" srcOrd="1" destOrd="0" presId="urn:madeinoffice.com/office/officeart/2005/8/layout/ProzessketteMitTextboxenUnterhalb"/>
    <dgm:cxn modelId="{21423924-B852-47C1-B1A3-2FB907F9D153}" type="presParOf" srcId="{85983522-54B0-41CC-BE51-EE1131B3765A}" destId="{78597477-A321-4F23-9485-6C0CAF4D9740}" srcOrd="3" destOrd="0" presId="urn:madeinoffice.com/office/officeart/2005/8/layout/ProzessketteMitTextboxenUnterhalb"/>
    <dgm:cxn modelId="{2CA5827D-6AF1-4F78-8A75-3FD7A714EB45}" type="presParOf" srcId="{85983522-54B0-41CC-BE51-EE1131B3765A}" destId="{3357DAA5-6FCE-4010-AFC4-061C9CFBA314}" srcOrd="4" destOrd="0" presId="urn:madeinoffice.com/office/officeart/2005/8/layout/ProzessketteMitTextboxenUnterhalb"/>
    <dgm:cxn modelId="{C611C9A8-8DE2-477D-8E02-AA4EE0C733EC}" type="presParOf" srcId="{3357DAA5-6FCE-4010-AFC4-061C9CFBA314}" destId="{9A81DEE1-2736-4E00-8FFE-BFDEECDA2D26}" srcOrd="0" destOrd="0" presId="urn:madeinoffice.com/office/officeart/2005/8/layout/ProzessketteMitTextboxenUnterhalb"/>
    <dgm:cxn modelId="{F20F74CB-4C76-49B4-BB95-1FB49E25B80E}" type="presParOf" srcId="{3357DAA5-6FCE-4010-AFC4-061C9CFBA314}" destId="{60A4F703-AE08-41B4-9E63-869505154997}" srcOrd="1" destOrd="0" presId="urn:madeinoffice.com/office/officeart/2005/8/layout/ProzessketteMitTextboxenUnterhalb"/>
    <dgm:cxn modelId="{5727D5BD-A0FE-453E-930F-D96B69DAFCBE}" type="presParOf" srcId="{3357DAA5-6FCE-4010-AFC4-061C9CFBA314}" destId="{FDA1E9B5-9107-46AF-B169-D98FC6BFF0D2}" srcOrd="2" destOrd="0" presId="urn:madeinoffice.com/office/officeart/2005/8/layout/ProzessketteMitTextboxenUnterhalb"/>
    <dgm:cxn modelId="{455C4A78-25F9-42FF-B7A3-AA383A9C7EF5}" type="presParOf" srcId="{FDA1E9B5-9107-46AF-B169-D98FC6BFF0D2}" destId="{9118BB27-90B5-4DAF-AF1E-B9AB9686F33B}" srcOrd="0" destOrd="0" presId="urn:madeinoffice.com/office/officeart/2005/8/layout/ProzessketteMitTextboxenUnterhalb"/>
    <dgm:cxn modelId="{9ACBAD89-2786-45DC-97BD-A68B096621B5}" type="presParOf" srcId="{9118BB27-90B5-4DAF-AF1E-B9AB9686F33B}" destId="{69D93163-235A-4AA7-8E97-81BAE0CB0A0D}" srcOrd="0" destOrd="0" presId="urn:madeinoffice.com/office/officeart/2005/8/layout/ProzessketteMitTextboxenUnterhalb"/>
    <dgm:cxn modelId="{5930EF6A-A54A-4B47-B08A-0BF224F0E4E9}" type="presParOf" srcId="{9118BB27-90B5-4DAF-AF1E-B9AB9686F33B}" destId="{7F4998AE-3525-4F97-8641-78BC363FDB7A}" srcOrd="1" destOrd="0" presId="urn:madeinoffice.com/office/officeart/2005/8/layout/ProzessketteMitTextboxenUnterhalb"/>
    <dgm:cxn modelId="{C8C080B4-678E-4D66-AADB-7C555F21A9F5}" type="presParOf" srcId="{FDA1E9B5-9107-46AF-B169-D98FC6BFF0D2}" destId="{5286A28D-B70A-4526-9EC3-76FCD583FD41}" srcOrd="1" destOrd="0" presId="urn:madeinoffice.com/office/officeart/2005/8/layout/ProzessketteMitTextboxenUnterhalb"/>
    <dgm:cxn modelId="{40AF6551-582D-4D3D-BDA6-7A17C2293484}" type="presParOf" srcId="{FDA1E9B5-9107-46AF-B169-D98FC6BFF0D2}" destId="{A7D3CB16-A3EE-4EBE-9D7C-0BE656231FA9}" srcOrd="2" destOrd="0" presId="urn:madeinoffice.com/office/officeart/2005/8/layout/ProzessketteMitTextboxenUnterhalb"/>
    <dgm:cxn modelId="{3651B57A-001E-49A9-B060-3366D8F9B040}" type="presParOf" srcId="{A7D3CB16-A3EE-4EBE-9D7C-0BE656231FA9}" destId="{1AFC2A38-1435-4B8A-AC08-4306718DD5FB}" srcOrd="0" destOrd="0" presId="urn:madeinoffice.com/office/officeart/2005/8/layout/ProzessketteMitTextboxenUnterhalb"/>
    <dgm:cxn modelId="{94529B1C-EF3F-4794-9338-EE0C5D79A389}" type="presParOf" srcId="{A7D3CB16-A3EE-4EBE-9D7C-0BE656231FA9}" destId="{A021C2CC-D719-46C8-839C-ACBC3C9F8C0D}" srcOrd="1" destOrd="0" presId="urn:madeinoffice.com/office/officeart/2005/8/layout/ProzessketteMitTextboxenUnterhalb"/>
    <dgm:cxn modelId="{9077E819-D1D4-475C-985F-D1D1545A2782}" type="presParOf" srcId="{85983522-54B0-41CC-BE51-EE1131B3765A}" destId="{E2892283-009F-4687-BBE6-F21B5163452B}" srcOrd="5" destOrd="0" presId="urn:madeinoffice.com/office/officeart/2005/8/layout/ProzessketteMitTextboxenUnterhalb"/>
    <dgm:cxn modelId="{AE0D64A4-6E32-4471-99BD-5FA20ED031CA}" type="presParOf" srcId="{85983522-54B0-41CC-BE51-EE1131B3765A}" destId="{D35B35A5-EE90-47D1-9465-B3E9086B356B}" srcOrd="6" destOrd="0" presId="urn:madeinoffice.com/office/officeart/2005/8/layout/ProzessketteMitTextboxenUnterhalb"/>
    <dgm:cxn modelId="{F099CECA-BDF6-45F0-BD23-4F662C0ACF63}" type="presParOf" srcId="{D35B35A5-EE90-47D1-9465-B3E9086B356B}" destId="{2BD4F195-137F-42F9-A1DA-1CA82C3F158D}" srcOrd="0" destOrd="0" presId="urn:madeinoffice.com/office/officeart/2005/8/layout/ProzessketteMitTextboxenUnterhalb"/>
    <dgm:cxn modelId="{A04EB328-9B95-4B6D-9577-D9308A222909}" type="presParOf" srcId="{D35B35A5-EE90-47D1-9465-B3E9086B356B}" destId="{B9C87496-D0F6-4B09-BFF2-A2B327A006A8}" srcOrd="1" destOrd="0" presId="urn:madeinoffice.com/office/officeart/2005/8/layout/ProzessketteMitTextboxenUnterhalb"/>
    <dgm:cxn modelId="{BEC8365B-91A6-4708-8B75-CE6853DF63A2}" type="presParOf" srcId="{D35B35A5-EE90-47D1-9465-B3E9086B356B}" destId="{9EA5AAF7-1B9C-47A7-B1F5-96160C009039}" srcOrd="2" destOrd="0" presId="urn:madeinoffice.com/office/officeart/2005/8/layout/ProzessketteMitTextboxenUnterhalb"/>
    <dgm:cxn modelId="{69747912-94E1-4CB4-9C0D-1F0C00D1DA5F}" type="presParOf" srcId="{9EA5AAF7-1B9C-47A7-B1F5-96160C009039}" destId="{827428F4-EB7C-410F-9783-F670DCA3F3E9}" srcOrd="0" destOrd="0" presId="urn:madeinoffice.com/office/officeart/2005/8/layout/ProzessketteMitTextboxenUnterhalb"/>
    <dgm:cxn modelId="{D6B2A53C-CE0C-4180-9C31-02F959DF1DE7}" type="presParOf" srcId="{827428F4-EB7C-410F-9783-F670DCA3F3E9}" destId="{12492890-BADB-43A0-BC98-58FBEFF187C3}" srcOrd="0" destOrd="0" presId="urn:madeinoffice.com/office/officeart/2005/8/layout/ProzessketteMitTextboxenUnterhalb"/>
    <dgm:cxn modelId="{E539D9A2-20B1-4A41-BC58-69BF8936CDCC}" type="presParOf" srcId="{827428F4-EB7C-410F-9783-F670DCA3F3E9}" destId="{20956DA1-960D-498E-9874-4233DBAD2086}" srcOrd="1" destOrd="0" presId="urn:madeinoffice.com/office/officeart/2005/8/layout/ProzessketteMitTextboxenUnterhalb"/>
    <dgm:cxn modelId="{D004F0EE-0CA6-4671-810B-C2207DF713AC}" type="presParOf" srcId="{9EA5AAF7-1B9C-47A7-B1F5-96160C009039}" destId="{EB6CD8C9-68B8-402B-962A-85EE95A46975}" srcOrd="1" destOrd="0" presId="urn:madeinoffice.com/office/officeart/2005/8/layout/ProzessketteMitTextboxenUnterhalb"/>
    <dgm:cxn modelId="{0428B595-B8BB-48C0-8389-5EBD54381C68}" type="presParOf" srcId="{9EA5AAF7-1B9C-47A7-B1F5-96160C009039}" destId="{784908CC-9480-4264-AD03-4E374EECF50D}" srcOrd="2" destOrd="0" presId="urn:madeinoffice.com/office/officeart/2005/8/layout/ProzessketteMitTextboxenUnterhalb"/>
    <dgm:cxn modelId="{1F761E9A-E83B-4142-8981-3542A8B1A1B6}" type="presParOf" srcId="{784908CC-9480-4264-AD03-4E374EECF50D}" destId="{9CC77EF6-C13C-47BD-91EF-2E66D143EBD5}" srcOrd="0" destOrd="0" presId="urn:madeinoffice.com/office/officeart/2005/8/layout/ProzessketteMitTextboxenUnterhalb"/>
    <dgm:cxn modelId="{D2544473-9A29-4EE6-BCF9-4ABD162F897E}" type="presParOf" srcId="{784908CC-9480-4264-AD03-4E374EECF50D}" destId="{236FC07F-CDB9-49D5-A77B-136EF5F60196}" srcOrd="1" destOrd="0" presId="urn:madeinoffice.com/office/officeart/2005/8/layout/ProzessketteMitTextboxenUnterhalb"/>
    <dgm:cxn modelId="{E7528641-E3FA-468B-9A53-3835B56632F7}" type="presParOf" srcId="{9EA5AAF7-1B9C-47A7-B1F5-96160C009039}" destId="{EFA15675-88EE-490A-B00A-7949491FFF10}" srcOrd="3" destOrd="0" presId="urn:madeinoffice.com/office/officeart/2005/8/layout/ProzessketteMitTextboxenUnterhalb"/>
    <dgm:cxn modelId="{4775B3A7-794C-4673-8D7F-BAC83278C4FE}" type="presParOf" srcId="{9EA5AAF7-1B9C-47A7-B1F5-96160C009039}" destId="{53FEDFAE-59BD-45E6-B929-4B0AD2234907}" srcOrd="4" destOrd="0" presId="urn:madeinoffice.com/office/officeart/2005/8/layout/ProzessketteMitTextboxenUnterhalb"/>
    <dgm:cxn modelId="{3F540077-F848-4149-BBD2-1E1B5E412713}" type="presParOf" srcId="{53FEDFAE-59BD-45E6-B929-4B0AD2234907}" destId="{4FB432C0-1ABE-40F1-BDB0-E902012FD63C}" srcOrd="0" destOrd="0" presId="urn:madeinoffice.com/office/officeart/2005/8/layout/ProzessketteMitTextboxenUnterhalb"/>
    <dgm:cxn modelId="{5713C6F4-A479-41AA-8445-30F1C3C4FEA4}" type="presParOf" srcId="{53FEDFAE-59BD-45E6-B929-4B0AD2234907}" destId="{F252F413-0DF8-49E3-9A20-2403DCCD0803}" srcOrd="1" destOrd="0" presId="urn:madeinoffice.com/office/officeart/2005/8/layout/ProzessketteMitTextboxenUnterhalb"/>
  </dgm:cxnLst>
  <dgm:bg/>
  <dgm:whole/>
  <dgm:extLst>
    <a:ext uri="http://schemas.microsoft.com/office/drawing/2008/diagram">
      <dsp:dataModelExt xmlns:dsp="http://schemas.microsoft.com/office/drawing/2008/diagram" relId="rId15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1C5A853-5050-41EA-ACF1-F275E495773E}">
      <dsp:nvSpPr>
        <dsp:cNvPr id="0" name=""/>
        <dsp:cNvSpPr/>
      </dsp:nvSpPr>
      <dsp:spPr>
        <a:xfrm>
          <a:off x="0" y="0"/>
          <a:ext cx="2736056" cy="34404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6674ABF-D6CA-460F-9513-36418065EBD7}">
      <dsp:nvSpPr>
        <dsp:cNvPr id="0" name=""/>
        <dsp:cNvSpPr/>
      </dsp:nvSpPr>
      <dsp:spPr>
        <a:xfrm>
          <a:off x="0" y="0"/>
          <a:ext cx="2736056" cy="705600"/>
        </a:xfrm>
        <a:prstGeom prst="homePlate">
          <a:avLst>
            <a:gd name="adj" fmla="val 15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Phase de préparation</a:t>
          </a:r>
        </a:p>
      </dsp:txBody>
      <dsp:txXfrm>
        <a:off x="0" y="0"/>
        <a:ext cx="2683136" cy="705600"/>
      </dsp:txXfrm>
    </dsp:sp>
    <dsp:sp modelId="{5C4FC227-0F1C-4CEF-8ABC-14547FF5B28E}">
      <dsp:nvSpPr>
        <dsp:cNvPr id="0" name=""/>
        <dsp:cNvSpPr/>
      </dsp:nvSpPr>
      <dsp:spPr>
        <a:xfrm>
          <a:off x="136802" y="989280"/>
          <a:ext cx="36000" cy="36000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45F8DD8-E5E1-4A4E-9516-F2B9D7FCFD6F}">
      <dsp:nvSpPr>
        <dsp:cNvPr id="0" name=""/>
        <dsp:cNvSpPr/>
      </dsp:nvSpPr>
      <dsp:spPr>
        <a:xfrm>
          <a:off x="410408" y="917280"/>
          <a:ext cx="2188845" cy="6739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Auto-formation aux principes du machine-learning</a:t>
          </a:r>
        </a:p>
      </dsp:txBody>
      <dsp:txXfrm>
        <a:off x="410408" y="917280"/>
        <a:ext cx="2188845" cy="673920"/>
      </dsp:txXfrm>
    </dsp:sp>
    <dsp:sp modelId="{45EACF86-C495-4806-A52E-36FEA7811285}">
      <dsp:nvSpPr>
        <dsp:cNvPr id="0" name=""/>
        <dsp:cNvSpPr/>
      </dsp:nvSpPr>
      <dsp:spPr>
        <a:xfrm>
          <a:off x="136802" y="1778400"/>
          <a:ext cx="36000" cy="36000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94118BB-20C7-45DD-8142-C87ABB4823AA}">
      <dsp:nvSpPr>
        <dsp:cNvPr id="0" name=""/>
        <dsp:cNvSpPr/>
      </dsp:nvSpPr>
      <dsp:spPr>
        <a:xfrm>
          <a:off x="410408" y="170640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s techniques de compréhension de texte </a:t>
          </a:r>
        </a:p>
      </dsp:txBody>
      <dsp:txXfrm>
        <a:off x="410408" y="1706400"/>
        <a:ext cx="2188845" cy="449280"/>
      </dsp:txXfrm>
    </dsp:sp>
    <dsp:sp modelId="{D6810DCB-A642-4571-A83A-FAEF5C5E7078}">
      <dsp:nvSpPr>
        <dsp:cNvPr id="0" name=""/>
        <dsp:cNvSpPr/>
      </dsp:nvSpPr>
      <dsp:spPr>
        <a:xfrm>
          <a:off x="2736056" y="0"/>
          <a:ext cx="2736056" cy="34404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1207ED9-5F09-4652-BFF5-169BE9A57372}">
      <dsp:nvSpPr>
        <dsp:cNvPr id="0" name=""/>
        <dsp:cNvSpPr/>
      </dsp:nvSpPr>
      <dsp:spPr>
        <a:xfrm>
          <a:off x="2736056" y="0"/>
          <a:ext cx="2736056" cy="705600"/>
        </a:xfrm>
        <a:prstGeom prst="chevron">
          <a:avLst>
            <a:gd name="adj" fmla="val 15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600" b="1" kern="1200" dirty="0">
            <a:solidFill>
              <a:schemeClr val="bg1"/>
            </a:solidFill>
            <a:latin typeface="Reem Kufi Regular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2841896" y="0"/>
        <a:ext cx="2524376" cy="705600"/>
      </dsp:txXfrm>
    </dsp:sp>
    <dsp:sp modelId="{9A81DEE1-2736-4E00-8FFE-BFDEECDA2D26}">
      <dsp:nvSpPr>
        <dsp:cNvPr id="0" name=""/>
        <dsp:cNvSpPr/>
      </dsp:nvSpPr>
      <dsp:spPr>
        <a:xfrm>
          <a:off x="5472112" y="0"/>
          <a:ext cx="2736056" cy="34404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0A4F703-AE08-41B4-9E63-869505154997}">
      <dsp:nvSpPr>
        <dsp:cNvPr id="0" name=""/>
        <dsp:cNvSpPr/>
      </dsp:nvSpPr>
      <dsp:spPr>
        <a:xfrm>
          <a:off x="5472112" y="0"/>
          <a:ext cx="2736056" cy="705600"/>
        </a:xfrm>
        <a:prstGeom prst="chevron">
          <a:avLst>
            <a:gd name="adj" fmla="val 15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600" b="1" kern="1200" dirty="0">
            <a:solidFill>
              <a:schemeClr val="bg1"/>
            </a:solidFill>
            <a:latin typeface="Reem Kufi Regular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5577952" y="0"/>
        <a:ext cx="2524376" cy="705600"/>
      </dsp:txXfrm>
    </dsp:sp>
    <dsp:sp modelId="{2BD4F195-137F-42F9-A1DA-1CA82C3F158D}">
      <dsp:nvSpPr>
        <dsp:cNvPr id="0" name=""/>
        <dsp:cNvSpPr/>
      </dsp:nvSpPr>
      <dsp:spPr>
        <a:xfrm>
          <a:off x="8208168" y="0"/>
          <a:ext cx="2736056" cy="34404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9C87496-D0F6-4B09-BFF2-A2B327A006A8}">
      <dsp:nvSpPr>
        <dsp:cNvPr id="0" name=""/>
        <dsp:cNvSpPr/>
      </dsp:nvSpPr>
      <dsp:spPr>
        <a:xfrm>
          <a:off x="8208168" y="0"/>
          <a:ext cx="2736056" cy="705600"/>
        </a:xfrm>
        <a:prstGeom prst="chevron">
          <a:avLst>
            <a:gd name="adj" fmla="val 15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600" b="1" kern="1200" dirty="0">
            <a:solidFill>
              <a:schemeClr val="bg1"/>
            </a:solidFill>
            <a:latin typeface="Reem Kufi Regular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8314008" y="0"/>
        <a:ext cx="2524376" cy="70560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1C5A853-5050-41EA-ACF1-F275E495773E}">
      <dsp:nvSpPr>
        <dsp:cNvPr id="0" name=""/>
        <dsp:cNvSpPr/>
      </dsp:nvSpPr>
      <dsp:spPr>
        <a:xfrm>
          <a:off x="0" y="0"/>
          <a:ext cx="2736056" cy="34404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6674ABF-D6CA-460F-9513-36418065EBD7}">
      <dsp:nvSpPr>
        <dsp:cNvPr id="0" name=""/>
        <dsp:cNvSpPr/>
      </dsp:nvSpPr>
      <dsp:spPr>
        <a:xfrm>
          <a:off x="0" y="0"/>
          <a:ext cx="2736056" cy="705600"/>
        </a:xfrm>
        <a:prstGeom prst="homePlate">
          <a:avLst>
            <a:gd name="adj" fmla="val 15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Phase de préparation</a:t>
          </a:r>
        </a:p>
      </dsp:txBody>
      <dsp:txXfrm>
        <a:off x="0" y="0"/>
        <a:ext cx="2683136" cy="705600"/>
      </dsp:txXfrm>
    </dsp:sp>
    <dsp:sp modelId="{5C4FC227-0F1C-4CEF-8ABC-14547FF5B28E}">
      <dsp:nvSpPr>
        <dsp:cNvPr id="0" name=""/>
        <dsp:cNvSpPr/>
      </dsp:nvSpPr>
      <dsp:spPr>
        <a:xfrm>
          <a:off x="136802" y="989280"/>
          <a:ext cx="36000" cy="36000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45F8DD8-E5E1-4A4E-9516-F2B9D7FCFD6F}">
      <dsp:nvSpPr>
        <dsp:cNvPr id="0" name=""/>
        <dsp:cNvSpPr/>
      </dsp:nvSpPr>
      <dsp:spPr>
        <a:xfrm>
          <a:off x="410408" y="917280"/>
          <a:ext cx="2188845" cy="6739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Auto-formation aux principes du machine-learning</a:t>
          </a:r>
        </a:p>
      </dsp:txBody>
      <dsp:txXfrm>
        <a:off x="410408" y="917280"/>
        <a:ext cx="2188845" cy="673920"/>
      </dsp:txXfrm>
    </dsp:sp>
    <dsp:sp modelId="{45EACF86-C495-4806-A52E-36FEA7811285}">
      <dsp:nvSpPr>
        <dsp:cNvPr id="0" name=""/>
        <dsp:cNvSpPr/>
      </dsp:nvSpPr>
      <dsp:spPr>
        <a:xfrm>
          <a:off x="136802" y="1778400"/>
          <a:ext cx="36000" cy="36000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94118BB-20C7-45DD-8142-C87ABB4823AA}">
      <dsp:nvSpPr>
        <dsp:cNvPr id="0" name=""/>
        <dsp:cNvSpPr/>
      </dsp:nvSpPr>
      <dsp:spPr>
        <a:xfrm>
          <a:off x="410408" y="170640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s techniques de compréhension de texte </a:t>
          </a:r>
        </a:p>
      </dsp:txBody>
      <dsp:txXfrm>
        <a:off x="410408" y="1706400"/>
        <a:ext cx="2188845" cy="449280"/>
      </dsp:txXfrm>
    </dsp:sp>
    <dsp:sp modelId="{D6810DCB-A642-4571-A83A-FAEF5C5E7078}">
      <dsp:nvSpPr>
        <dsp:cNvPr id="0" name=""/>
        <dsp:cNvSpPr/>
      </dsp:nvSpPr>
      <dsp:spPr>
        <a:xfrm>
          <a:off x="2736056" y="0"/>
          <a:ext cx="2736056" cy="34404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1207ED9-5F09-4652-BFF5-169BE9A57372}">
      <dsp:nvSpPr>
        <dsp:cNvPr id="0" name=""/>
        <dsp:cNvSpPr/>
      </dsp:nvSpPr>
      <dsp:spPr>
        <a:xfrm>
          <a:off x="2736056" y="0"/>
          <a:ext cx="2736056" cy="705600"/>
        </a:xfrm>
        <a:prstGeom prst="chevron">
          <a:avLst>
            <a:gd name="adj" fmla="val 15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Choix des applications</a:t>
          </a:r>
        </a:p>
      </dsp:txBody>
      <dsp:txXfrm>
        <a:off x="2841896" y="0"/>
        <a:ext cx="2524376" cy="705600"/>
      </dsp:txXfrm>
    </dsp:sp>
    <dsp:sp modelId="{71E3D0DB-5CEC-400D-BB3C-BA4453200D87}">
      <dsp:nvSpPr>
        <dsp:cNvPr id="0" name=""/>
        <dsp:cNvSpPr/>
      </dsp:nvSpPr>
      <dsp:spPr>
        <a:xfrm>
          <a:off x="2872859" y="989280"/>
          <a:ext cx="36000" cy="36000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3BCE79E-19A3-4D8C-960B-CA7DB00C5AE4}">
      <dsp:nvSpPr>
        <dsp:cNvPr id="0" name=""/>
        <dsp:cNvSpPr/>
      </dsp:nvSpPr>
      <dsp:spPr>
        <a:xfrm>
          <a:off x="3146464" y="91728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u moteur de recherche</a:t>
          </a:r>
        </a:p>
      </dsp:txBody>
      <dsp:txXfrm>
        <a:off x="3146464" y="917280"/>
        <a:ext cx="2188845" cy="449280"/>
      </dsp:txXfrm>
    </dsp:sp>
    <dsp:sp modelId="{8A0A0400-8AE2-47BE-8145-41AE60A88AE4}">
      <dsp:nvSpPr>
        <dsp:cNvPr id="0" name=""/>
        <dsp:cNvSpPr/>
      </dsp:nvSpPr>
      <dsp:spPr>
        <a:xfrm>
          <a:off x="2872859" y="1553760"/>
          <a:ext cx="36000" cy="3600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1069177-A7AD-4B96-9C82-933B0EFEC5B1}">
      <dsp:nvSpPr>
        <dsp:cNvPr id="0" name=""/>
        <dsp:cNvSpPr/>
      </dsp:nvSpPr>
      <dsp:spPr>
        <a:xfrm>
          <a:off x="3146464" y="148176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 catégorisation de texte</a:t>
          </a:r>
        </a:p>
      </dsp:txBody>
      <dsp:txXfrm>
        <a:off x="3146464" y="1481760"/>
        <a:ext cx="2188845" cy="449280"/>
      </dsp:txXfrm>
    </dsp:sp>
    <dsp:sp modelId="{CF05CDD1-A50E-491D-AE92-D50189BE6975}">
      <dsp:nvSpPr>
        <dsp:cNvPr id="0" name=""/>
        <dsp:cNvSpPr/>
      </dsp:nvSpPr>
      <dsp:spPr>
        <a:xfrm>
          <a:off x="2872859" y="2118240"/>
          <a:ext cx="36000" cy="36000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7ACFF19-40E9-428A-B4C4-0B4D2E78B3A5}">
      <dsp:nvSpPr>
        <dsp:cNvPr id="0" name=""/>
        <dsp:cNvSpPr/>
      </dsp:nvSpPr>
      <dsp:spPr>
        <a:xfrm>
          <a:off x="3146464" y="204624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 la détection de spam</a:t>
          </a:r>
        </a:p>
      </dsp:txBody>
      <dsp:txXfrm>
        <a:off x="3146464" y="2046240"/>
        <a:ext cx="2188845" cy="449280"/>
      </dsp:txXfrm>
    </dsp:sp>
    <dsp:sp modelId="{BB4EF2ED-4BB7-4450-81F5-DDC2A2CE8B08}">
      <dsp:nvSpPr>
        <dsp:cNvPr id="0" name=""/>
        <dsp:cNvSpPr/>
      </dsp:nvSpPr>
      <dsp:spPr>
        <a:xfrm>
          <a:off x="2872859" y="2682720"/>
          <a:ext cx="36000" cy="36000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D8D533F-6F7A-4D67-ACA6-D2CF39DF6834}">
      <dsp:nvSpPr>
        <dsp:cNvPr id="0" name=""/>
        <dsp:cNvSpPr/>
      </dsp:nvSpPr>
      <dsp:spPr>
        <a:xfrm>
          <a:off x="3146464" y="261072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 l‘analyse de sentiment</a:t>
          </a:r>
        </a:p>
      </dsp:txBody>
      <dsp:txXfrm>
        <a:off x="3146464" y="2610720"/>
        <a:ext cx="2188845" cy="449280"/>
      </dsp:txXfrm>
    </dsp:sp>
    <dsp:sp modelId="{9A81DEE1-2736-4E00-8FFE-BFDEECDA2D26}">
      <dsp:nvSpPr>
        <dsp:cNvPr id="0" name=""/>
        <dsp:cNvSpPr/>
      </dsp:nvSpPr>
      <dsp:spPr>
        <a:xfrm>
          <a:off x="5472112" y="0"/>
          <a:ext cx="2736056" cy="34404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0A4F703-AE08-41B4-9E63-869505154997}">
      <dsp:nvSpPr>
        <dsp:cNvPr id="0" name=""/>
        <dsp:cNvSpPr/>
      </dsp:nvSpPr>
      <dsp:spPr>
        <a:xfrm>
          <a:off x="5472112" y="0"/>
          <a:ext cx="2736056" cy="705600"/>
        </a:xfrm>
        <a:prstGeom prst="chevron">
          <a:avLst>
            <a:gd name="adj" fmla="val 15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600" b="1" kern="1200" dirty="0">
            <a:solidFill>
              <a:schemeClr val="bg1"/>
            </a:solidFill>
            <a:latin typeface="Reem Kufi Regular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5577952" y="0"/>
        <a:ext cx="2524376" cy="705600"/>
      </dsp:txXfrm>
    </dsp:sp>
    <dsp:sp modelId="{2BD4F195-137F-42F9-A1DA-1CA82C3F158D}">
      <dsp:nvSpPr>
        <dsp:cNvPr id="0" name=""/>
        <dsp:cNvSpPr/>
      </dsp:nvSpPr>
      <dsp:spPr>
        <a:xfrm>
          <a:off x="8208168" y="0"/>
          <a:ext cx="2736056" cy="34404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9C87496-D0F6-4B09-BFF2-A2B327A006A8}">
      <dsp:nvSpPr>
        <dsp:cNvPr id="0" name=""/>
        <dsp:cNvSpPr/>
      </dsp:nvSpPr>
      <dsp:spPr>
        <a:xfrm>
          <a:off x="8208168" y="0"/>
          <a:ext cx="2736056" cy="705600"/>
        </a:xfrm>
        <a:prstGeom prst="chevron">
          <a:avLst>
            <a:gd name="adj" fmla="val 15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600" b="1" kern="1200" dirty="0">
            <a:solidFill>
              <a:schemeClr val="bg1"/>
            </a:solidFill>
            <a:latin typeface="Reem Kufi Regular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8314008" y="0"/>
        <a:ext cx="2524376" cy="70560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1C5A853-5050-41EA-ACF1-F275E495773E}">
      <dsp:nvSpPr>
        <dsp:cNvPr id="0" name=""/>
        <dsp:cNvSpPr/>
      </dsp:nvSpPr>
      <dsp:spPr>
        <a:xfrm>
          <a:off x="0" y="0"/>
          <a:ext cx="2736056" cy="34404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6674ABF-D6CA-460F-9513-36418065EBD7}">
      <dsp:nvSpPr>
        <dsp:cNvPr id="0" name=""/>
        <dsp:cNvSpPr/>
      </dsp:nvSpPr>
      <dsp:spPr>
        <a:xfrm>
          <a:off x="0" y="0"/>
          <a:ext cx="2736056" cy="705600"/>
        </a:xfrm>
        <a:prstGeom prst="homePlate">
          <a:avLst>
            <a:gd name="adj" fmla="val 15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Phase de préparation</a:t>
          </a:r>
        </a:p>
      </dsp:txBody>
      <dsp:txXfrm>
        <a:off x="0" y="0"/>
        <a:ext cx="2683136" cy="705600"/>
      </dsp:txXfrm>
    </dsp:sp>
    <dsp:sp modelId="{5C4FC227-0F1C-4CEF-8ABC-14547FF5B28E}">
      <dsp:nvSpPr>
        <dsp:cNvPr id="0" name=""/>
        <dsp:cNvSpPr/>
      </dsp:nvSpPr>
      <dsp:spPr>
        <a:xfrm>
          <a:off x="136802" y="989280"/>
          <a:ext cx="36000" cy="36000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45F8DD8-E5E1-4A4E-9516-F2B9D7FCFD6F}">
      <dsp:nvSpPr>
        <dsp:cNvPr id="0" name=""/>
        <dsp:cNvSpPr/>
      </dsp:nvSpPr>
      <dsp:spPr>
        <a:xfrm>
          <a:off x="410408" y="917280"/>
          <a:ext cx="2188845" cy="6739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Auto-formation aux principes du machine-learning</a:t>
          </a:r>
        </a:p>
      </dsp:txBody>
      <dsp:txXfrm>
        <a:off x="410408" y="917280"/>
        <a:ext cx="2188845" cy="673920"/>
      </dsp:txXfrm>
    </dsp:sp>
    <dsp:sp modelId="{45EACF86-C495-4806-A52E-36FEA7811285}">
      <dsp:nvSpPr>
        <dsp:cNvPr id="0" name=""/>
        <dsp:cNvSpPr/>
      </dsp:nvSpPr>
      <dsp:spPr>
        <a:xfrm>
          <a:off x="136802" y="1778400"/>
          <a:ext cx="36000" cy="36000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94118BB-20C7-45DD-8142-C87ABB4823AA}">
      <dsp:nvSpPr>
        <dsp:cNvPr id="0" name=""/>
        <dsp:cNvSpPr/>
      </dsp:nvSpPr>
      <dsp:spPr>
        <a:xfrm>
          <a:off x="410408" y="170640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s techniques de compréhension de texte</a:t>
          </a:r>
        </a:p>
      </dsp:txBody>
      <dsp:txXfrm>
        <a:off x="410408" y="1706400"/>
        <a:ext cx="2188845" cy="449280"/>
      </dsp:txXfrm>
    </dsp:sp>
    <dsp:sp modelId="{D6810DCB-A642-4571-A83A-FAEF5C5E7078}">
      <dsp:nvSpPr>
        <dsp:cNvPr id="0" name=""/>
        <dsp:cNvSpPr/>
      </dsp:nvSpPr>
      <dsp:spPr>
        <a:xfrm>
          <a:off x="2736056" y="0"/>
          <a:ext cx="2736056" cy="34404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1207ED9-5F09-4652-BFF5-169BE9A57372}">
      <dsp:nvSpPr>
        <dsp:cNvPr id="0" name=""/>
        <dsp:cNvSpPr/>
      </dsp:nvSpPr>
      <dsp:spPr>
        <a:xfrm>
          <a:off x="2736056" y="0"/>
          <a:ext cx="2736056" cy="705600"/>
        </a:xfrm>
        <a:prstGeom prst="chevron">
          <a:avLst>
            <a:gd name="adj" fmla="val 15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Choix des applications</a:t>
          </a:r>
        </a:p>
      </dsp:txBody>
      <dsp:txXfrm>
        <a:off x="2841896" y="0"/>
        <a:ext cx="2524376" cy="705600"/>
      </dsp:txXfrm>
    </dsp:sp>
    <dsp:sp modelId="{71E3D0DB-5CEC-400D-BB3C-BA4453200D87}">
      <dsp:nvSpPr>
        <dsp:cNvPr id="0" name=""/>
        <dsp:cNvSpPr/>
      </dsp:nvSpPr>
      <dsp:spPr>
        <a:xfrm>
          <a:off x="2872859" y="989280"/>
          <a:ext cx="36000" cy="36000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3BCE79E-19A3-4D8C-960B-CA7DB00C5AE4}">
      <dsp:nvSpPr>
        <dsp:cNvPr id="0" name=""/>
        <dsp:cNvSpPr/>
      </dsp:nvSpPr>
      <dsp:spPr>
        <a:xfrm>
          <a:off x="3146464" y="91728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u moteur de recherche</a:t>
          </a:r>
        </a:p>
      </dsp:txBody>
      <dsp:txXfrm>
        <a:off x="3146464" y="917280"/>
        <a:ext cx="2188845" cy="449280"/>
      </dsp:txXfrm>
    </dsp:sp>
    <dsp:sp modelId="{8A0A0400-8AE2-47BE-8145-41AE60A88AE4}">
      <dsp:nvSpPr>
        <dsp:cNvPr id="0" name=""/>
        <dsp:cNvSpPr/>
      </dsp:nvSpPr>
      <dsp:spPr>
        <a:xfrm>
          <a:off x="2872859" y="1553760"/>
          <a:ext cx="36000" cy="3600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1069177-A7AD-4B96-9C82-933B0EFEC5B1}">
      <dsp:nvSpPr>
        <dsp:cNvPr id="0" name=""/>
        <dsp:cNvSpPr/>
      </dsp:nvSpPr>
      <dsp:spPr>
        <a:xfrm>
          <a:off x="3146464" y="148176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 catégorisation de texte</a:t>
          </a:r>
        </a:p>
      </dsp:txBody>
      <dsp:txXfrm>
        <a:off x="3146464" y="1481760"/>
        <a:ext cx="2188845" cy="449280"/>
      </dsp:txXfrm>
    </dsp:sp>
    <dsp:sp modelId="{CF05CDD1-A50E-491D-AE92-D50189BE6975}">
      <dsp:nvSpPr>
        <dsp:cNvPr id="0" name=""/>
        <dsp:cNvSpPr/>
      </dsp:nvSpPr>
      <dsp:spPr>
        <a:xfrm>
          <a:off x="2872859" y="2118240"/>
          <a:ext cx="36000" cy="36000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7ACFF19-40E9-428A-B4C4-0B4D2E78B3A5}">
      <dsp:nvSpPr>
        <dsp:cNvPr id="0" name=""/>
        <dsp:cNvSpPr/>
      </dsp:nvSpPr>
      <dsp:spPr>
        <a:xfrm>
          <a:off x="3146464" y="204624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 la détection de spam</a:t>
          </a:r>
        </a:p>
      </dsp:txBody>
      <dsp:txXfrm>
        <a:off x="3146464" y="2046240"/>
        <a:ext cx="2188845" cy="449280"/>
      </dsp:txXfrm>
    </dsp:sp>
    <dsp:sp modelId="{BB4EF2ED-4BB7-4450-81F5-DDC2A2CE8B08}">
      <dsp:nvSpPr>
        <dsp:cNvPr id="0" name=""/>
        <dsp:cNvSpPr/>
      </dsp:nvSpPr>
      <dsp:spPr>
        <a:xfrm>
          <a:off x="2872859" y="2682720"/>
          <a:ext cx="36000" cy="36000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D8D533F-6F7A-4D67-ACA6-D2CF39DF6834}">
      <dsp:nvSpPr>
        <dsp:cNvPr id="0" name=""/>
        <dsp:cNvSpPr/>
      </dsp:nvSpPr>
      <dsp:spPr>
        <a:xfrm>
          <a:off x="3146464" y="261072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 l‘analyse de sentiment</a:t>
          </a:r>
        </a:p>
      </dsp:txBody>
      <dsp:txXfrm>
        <a:off x="3146464" y="2610720"/>
        <a:ext cx="2188845" cy="449280"/>
      </dsp:txXfrm>
    </dsp:sp>
    <dsp:sp modelId="{9A81DEE1-2736-4E00-8FFE-BFDEECDA2D26}">
      <dsp:nvSpPr>
        <dsp:cNvPr id="0" name=""/>
        <dsp:cNvSpPr/>
      </dsp:nvSpPr>
      <dsp:spPr>
        <a:xfrm>
          <a:off x="5472112" y="0"/>
          <a:ext cx="2736056" cy="34404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0A4F703-AE08-41B4-9E63-869505154997}">
      <dsp:nvSpPr>
        <dsp:cNvPr id="0" name=""/>
        <dsp:cNvSpPr/>
      </dsp:nvSpPr>
      <dsp:spPr>
        <a:xfrm>
          <a:off x="5472112" y="0"/>
          <a:ext cx="2736056" cy="705600"/>
        </a:xfrm>
        <a:prstGeom prst="chevron">
          <a:avLst>
            <a:gd name="adj" fmla="val 15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Developpement des applications</a:t>
          </a:r>
        </a:p>
      </dsp:txBody>
      <dsp:txXfrm>
        <a:off x="5577952" y="0"/>
        <a:ext cx="2524376" cy="705600"/>
      </dsp:txXfrm>
    </dsp:sp>
    <dsp:sp modelId="{69D93163-235A-4AA7-8E97-81BAE0CB0A0D}">
      <dsp:nvSpPr>
        <dsp:cNvPr id="0" name=""/>
        <dsp:cNvSpPr/>
      </dsp:nvSpPr>
      <dsp:spPr>
        <a:xfrm>
          <a:off x="5608915" y="989280"/>
          <a:ext cx="36000" cy="36000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F4998AE-3525-4F97-8641-78BC363FDB7A}">
      <dsp:nvSpPr>
        <dsp:cNvPr id="0" name=""/>
        <dsp:cNvSpPr/>
      </dsp:nvSpPr>
      <dsp:spPr>
        <a:xfrm>
          <a:off x="5882520" y="91728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Optmisation des classifieurs</a:t>
          </a:r>
        </a:p>
      </dsp:txBody>
      <dsp:txXfrm>
        <a:off x="5882520" y="917280"/>
        <a:ext cx="2188845" cy="449280"/>
      </dsp:txXfrm>
    </dsp:sp>
    <dsp:sp modelId="{1AFC2A38-1435-4B8A-AC08-4306718DD5FB}">
      <dsp:nvSpPr>
        <dsp:cNvPr id="0" name=""/>
        <dsp:cNvSpPr/>
      </dsp:nvSpPr>
      <dsp:spPr>
        <a:xfrm>
          <a:off x="5608915" y="1553760"/>
          <a:ext cx="36000" cy="3600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021C2CC-D719-46C8-839C-ACBC3C9F8C0D}">
      <dsp:nvSpPr>
        <dsp:cNvPr id="0" name=""/>
        <dsp:cNvSpPr/>
      </dsp:nvSpPr>
      <dsp:spPr>
        <a:xfrm>
          <a:off x="5882520" y="1481760"/>
          <a:ext cx="2188845" cy="6739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‘une 5ième application: Résumé de texte</a:t>
          </a:r>
        </a:p>
      </dsp:txBody>
      <dsp:txXfrm>
        <a:off x="5882520" y="1481760"/>
        <a:ext cx="2188845" cy="673920"/>
      </dsp:txXfrm>
    </dsp:sp>
    <dsp:sp modelId="{2BD4F195-137F-42F9-A1DA-1CA82C3F158D}">
      <dsp:nvSpPr>
        <dsp:cNvPr id="0" name=""/>
        <dsp:cNvSpPr/>
      </dsp:nvSpPr>
      <dsp:spPr>
        <a:xfrm>
          <a:off x="8208168" y="0"/>
          <a:ext cx="2736056" cy="34404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9C87496-D0F6-4B09-BFF2-A2B327A006A8}">
      <dsp:nvSpPr>
        <dsp:cNvPr id="0" name=""/>
        <dsp:cNvSpPr/>
      </dsp:nvSpPr>
      <dsp:spPr>
        <a:xfrm>
          <a:off x="8208168" y="0"/>
          <a:ext cx="2736056" cy="705600"/>
        </a:xfrm>
        <a:prstGeom prst="chevron">
          <a:avLst>
            <a:gd name="adj" fmla="val 15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600" b="1" kern="1200" dirty="0">
            <a:solidFill>
              <a:schemeClr val="bg1"/>
            </a:solidFill>
            <a:latin typeface="Reem Kufi Regular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8314008" y="0"/>
        <a:ext cx="2524376" cy="705600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1C5A853-5050-41EA-ACF1-F275E495773E}">
      <dsp:nvSpPr>
        <dsp:cNvPr id="0" name=""/>
        <dsp:cNvSpPr/>
      </dsp:nvSpPr>
      <dsp:spPr>
        <a:xfrm>
          <a:off x="0" y="0"/>
          <a:ext cx="2736056" cy="34404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6674ABF-D6CA-460F-9513-36418065EBD7}">
      <dsp:nvSpPr>
        <dsp:cNvPr id="0" name=""/>
        <dsp:cNvSpPr/>
      </dsp:nvSpPr>
      <dsp:spPr>
        <a:xfrm>
          <a:off x="0" y="0"/>
          <a:ext cx="2736056" cy="705600"/>
        </a:xfrm>
        <a:prstGeom prst="homePlate">
          <a:avLst>
            <a:gd name="adj" fmla="val 15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Phase de préparation</a:t>
          </a:r>
        </a:p>
      </dsp:txBody>
      <dsp:txXfrm>
        <a:off x="0" y="0"/>
        <a:ext cx="2683136" cy="705600"/>
      </dsp:txXfrm>
    </dsp:sp>
    <dsp:sp modelId="{5C4FC227-0F1C-4CEF-8ABC-14547FF5B28E}">
      <dsp:nvSpPr>
        <dsp:cNvPr id="0" name=""/>
        <dsp:cNvSpPr/>
      </dsp:nvSpPr>
      <dsp:spPr>
        <a:xfrm>
          <a:off x="136802" y="989280"/>
          <a:ext cx="36000" cy="36000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45F8DD8-E5E1-4A4E-9516-F2B9D7FCFD6F}">
      <dsp:nvSpPr>
        <dsp:cNvPr id="0" name=""/>
        <dsp:cNvSpPr/>
      </dsp:nvSpPr>
      <dsp:spPr>
        <a:xfrm>
          <a:off x="410408" y="917280"/>
          <a:ext cx="2188845" cy="6739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Auto-formation aux principes du machine-learning</a:t>
          </a:r>
        </a:p>
      </dsp:txBody>
      <dsp:txXfrm>
        <a:off x="410408" y="917280"/>
        <a:ext cx="2188845" cy="673920"/>
      </dsp:txXfrm>
    </dsp:sp>
    <dsp:sp modelId="{45EACF86-C495-4806-A52E-36FEA7811285}">
      <dsp:nvSpPr>
        <dsp:cNvPr id="0" name=""/>
        <dsp:cNvSpPr/>
      </dsp:nvSpPr>
      <dsp:spPr>
        <a:xfrm>
          <a:off x="136802" y="1778400"/>
          <a:ext cx="36000" cy="36000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94118BB-20C7-45DD-8142-C87ABB4823AA}">
      <dsp:nvSpPr>
        <dsp:cNvPr id="0" name=""/>
        <dsp:cNvSpPr/>
      </dsp:nvSpPr>
      <dsp:spPr>
        <a:xfrm>
          <a:off x="410408" y="170640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s techniques de compréhension de texte</a:t>
          </a:r>
        </a:p>
      </dsp:txBody>
      <dsp:txXfrm>
        <a:off x="410408" y="1706400"/>
        <a:ext cx="2188845" cy="449280"/>
      </dsp:txXfrm>
    </dsp:sp>
    <dsp:sp modelId="{D6810DCB-A642-4571-A83A-FAEF5C5E7078}">
      <dsp:nvSpPr>
        <dsp:cNvPr id="0" name=""/>
        <dsp:cNvSpPr/>
      </dsp:nvSpPr>
      <dsp:spPr>
        <a:xfrm>
          <a:off x="2736056" y="0"/>
          <a:ext cx="2736056" cy="34404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1207ED9-5F09-4652-BFF5-169BE9A57372}">
      <dsp:nvSpPr>
        <dsp:cNvPr id="0" name=""/>
        <dsp:cNvSpPr/>
      </dsp:nvSpPr>
      <dsp:spPr>
        <a:xfrm>
          <a:off x="2736056" y="0"/>
          <a:ext cx="2736056" cy="705600"/>
        </a:xfrm>
        <a:prstGeom prst="chevron">
          <a:avLst>
            <a:gd name="adj" fmla="val 15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Choix des </a:t>
          </a:r>
          <a:r>
            <a:rPr lang="fr-FR" sz="1600" b="1" kern="1200" noProof="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applications</a:t>
          </a:r>
        </a:p>
      </dsp:txBody>
      <dsp:txXfrm>
        <a:off x="2841896" y="0"/>
        <a:ext cx="2524376" cy="705600"/>
      </dsp:txXfrm>
    </dsp:sp>
    <dsp:sp modelId="{71E3D0DB-5CEC-400D-BB3C-BA4453200D87}">
      <dsp:nvSpPr>
        <dsp:cNvPr id="0" name=""/>
        <dsp:cNvSpPr/>
      </dsp:nvSpPr>
      <dsp:spPr>
        <a:xfrm>
          <a:off x="2872859" y="989280"/>
          <a:ext cx="36000" cy="36000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3BCE79E-19A3-4D8C-960B-CA7DB00C5AE4}">
      <dsp:nvSpPr>
        <dsp:cNvPr id="0" name=""/>
        <dsp:cNvSpPr/>
      </dsp:nvSpPr>
      <dsp:spPr>
        <a:xfrm>
          <a:off x="3146464" y="91728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u moteur de recherche</a:t>
          </a:r>
        </a:p>
      </dsp:txBody>
      <dsp:txXfrm>
        <a:off x="3146464" y="917280"/>
        <a:ext cx="2188845" cy="449280"/>
      </dsp:txXfrm>
    </dsp:sp>
    <dsp:sp modelId="{8A0A0400-8AE2-47BE-8145-41AE60A88AE4}">
      <dsp:nvSpPr>
        <dsp:cNvPr id="0" name=""/>
        <dsp:cNvSpPr/>
      </dsp:nvSpPr>
      <dsp:spPr>
        <a:xfrm>
          <a:off x="2872859" y="1553760"/>
          <a:ext cx="36000" cy="3600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1069177-A7AD-4B96-9C82-933B0EFEC5B1}">
      <dsp:nvSpPr>
        <dsp:cNvPr id="0" name=""/>
        <dsp:cNvSpPr/>
      </dsp:nvSpPr>
      <dsp:spPr>
        <a:xfrm>
          <a:off x="3146464" y="148176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 catégorisation de texte</a:t>
          </a:r>
        </a:p>
      </dsp:txBody>
      <dsp:txXfrm>
        <a:off x="3146464" y="1481760"/>
        <a:ext cx="2188845" cy="449280"/>
      </dsp:txXfrm>
    </dsp:sp>
    <dsp:sp modelId="{CF05CDD1-A50E-491D-AE92-D50189BE6975}">
      <dsp:nvSpPr>
        <dsp:cNvPr id="0" name=""/>
        <dsp:cNvSpPr/>
      </dsp:nvSpPr>
      <dsp:spPr>
        <a:xfrm>
          <a:off x="2872859" y="2118240"/>
          <a:ext cx="36000" cy="36000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7ACFF19-40E9-428A-B4C4-0B4D2E78B3A5}">
      <dsp:nvSpPr>
        <dsp:cNvPr id="0" name=""/>
        <dsp:cNvSpPr/>
      </dsp:nvSpPr>
      <dsp:spPr>
        <a:xfrm>
          <a:off x="3146464" y="204624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 la détection de spam</a:t>
          </a:r>
        </a:p>
      </dsp:txBody>
      <dsp:txXfrm>
        <a:off x="3146464" y="2046240"/>
        <a:ext cx="2188845" cy="449280"/>
      </dsp:txXfrm>
    </dsp:sp>
    <dsp:sp modelId="{BB4EF2ED-4BB7-4450-81F5-DDC2A2CE8B08}">
      <dsp:nvSpPr>
        <dsp:cNvPr id="0" name=""/>
        <dsp:cNvSpPr/>
      </dsp:nvSpPr>
      <dsp:spPr>
        <a:xfrm>
          <a:off x="2872859" y="2682720"/>
          <a:ext cx="36000" cy="36000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D8D533F-6F7A-4D67-ACA6-D2CF39DF6834}">
      <dsp:nvSpPr>
        <dsp:cNvPr id="0" name=""/>
        <dsp:cNvSpPr/>
      </dsp:nvSpPr>
      <dsp:spPr>
        <a:xfrm>
          <a:off x="3146464" y="261072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 l‘analyse de sentiment</a:t>
          </a:r>
        </a:p>
      </dsp:txBody>
      <dsp:txXfrm>
        <a:off x="3146464" y="2610720"/>
        <a:ext cx="2188845" cy="449280"/>
      </dsp:txXfrm>
    </dsp:sp>
    <dsp:sp modelId="{9A81DEE1-2736-4E00-8FFE-BFDEECDA2D26}">
      <dsp:nvSpPr>
        <dsp:cNvPr id="0" name=""/>
        <dsp:cNvSpPr/>
      </dsp:nvSpPr>
      <dsp:spPr>
        <a:xfrm>
          <a:off x="5472112" y="0"/>
          <a:ext cx="2736056" cy="34404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0A4F703-AE08-41B4-9E63-869505154997}">
      <dsp:nvSpPr>
        <dsp:cNvPr id="0" name=""/>
        <dsp:cNvSpPr/>
      </dsp:nvSpPr>
      <dsp:spPr>
        <a:xfrm>
          <a:off x="5472112" y="0"/>
          <a:ext cx="2736056" cy="705600"/>
        </a:xfrm>
        <a:prstGeom prst="chevron">
          <a:avLst>
            <a:gd name="adj" fmla="val 15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Developpement des applications</a:t>
          </a:r>
        </a:p>
      </dsp:txBody>
      <dsp:txXfrm>
        <a:off x="5577952" y="0"/>
        <a:ext cx="2524376" cy="705600"/>
      </dsp:txXfrm>
    </dsp:sp>
    <dsp:sp modelId="{69D93163-235A-4AA7-8E97-81BAE0CB0A0D}">
      <dsp:nvSpPr>
        <dsp:cNvPr id="0" name=""/>
        <dsp:cNvSpPr/>
      </dsp:nvSpPr>
      <dsp:spPr>
        <a:xfrm>
          <a:off x="5608915" y="989280"/>
          <a:ext cx="36000" cy="36000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F4998AE-3525-4F97-8641-78BC363FDB7A}">
      <dsp:nvSpPr>
        <dsp:cNvPr id="0" name=""/>
        <dsp:cNvSpPr/>
      </dsp:nvSpPr>
      <dsp:spPr>
        <a:xfrm>
          <a:off x="5882520" y="91728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Optmisation des classifieurs</a:t>
          </a:r>
        </a:p>
      </dsp:txBody>
      <dsp:txXfrm>
        <a:off x="5882520" y="917280"/>
        <a:ext cx="2188845" cy="449280"/>
      </dsp:txXfrm>
    </dsp:sp>
    <dsp:sp modelId="{1AFC2A38-1435-4B8A-AC08-4306718DD5FB}">
      <dsp:nvSpPr>
        <dsp:cNvPr id="0" name=""/>
        <dsp:cNvSpPr/>
      </dsp:nvSpPr>
      <dsp:spPr>
        <a:xfrm>
          <a:off x="5608915" y="1553760"/>
          <a:ext cx="36000" cy="3600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021C2CC-D719-46C8-839C-ACBC3C9F8C0D}">
      <dsp:nvSpPr>
        <dsp:cNvPr id="0" name=""/>
        <dsp:cNvSpPr/>
      </dsp:nvSpPr>
      <dsp:spPr>
        <a:xfrm>
          <a:off x="5882520" y="1481760"/>
          <a:ext cx="2188845" cy="6739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‘une 5ième application: Résumé de texte</a:t>
          </a:r>
        </a:p>
      </dsp:txBody>
      <dsp:txXfrm>
        <a:off x="5882520" y="1481760"/>
        <a:ext cx="2188845" cy="673920"/>
      </dsp:txXfrm>
    </dsp:sp>
    <dsp:sp modelId="{2BD4F195-137F-42F9-A1DA-1CA82C3F158D}">
      <dsp:nvSpPr>
        <dsp:cNvPr id="0" name=""/>
        <dsp:cNvSpPr/>
      </dsp:nvSpPr>
      <dsp:spPr>
        <a:xfrm>
          <a:off x="8208168" y="0"/>
          <a:ext cx="2736056" cy="34404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9C87496-D0F6-4B09-BFF2-A2B327A006A8}">
      <dsp:nvSpPr>
        <dsp:cNvPr id="0" name=""/>
        <dsp:cNvSpPr/>
      </dsp:nvSpPr>
      <dsp:spPr>
        <a:xfrm>
          <a:off x="8208168" y="0"/>
          <a:ext cx="2736056" cy="705600"/>
        </a:xfrm>
        <a:prstGeom prst="chevron">
          <a:avLst>
            <a:gd name="adj" fmla="val 15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Finalisation du projet</a:t>
          </a:r>
        </a:p>
      </dsp:txBody>
      <dsp:txXfrm>
        <a:off x="8314008" y="0"/>
        <a:ext cx="2524376" cy="705600"/>
      </dsp:txXfrm>
    </dsp:sp>
    <dsp:sp modelId="{12492890-BADB-43A0-BC98-58FBEFF187C3}">
      <dsp:nvSpPr>
        <dsp:cNvPr id="0" name=""/>
        <dsp:cNvSpPr/>
      </dsp:nvSpPr>
      <dsp:spPr>
        <a:xfrm>
          <a:off x="8344971" y="989280"/>
          <a:ext cx="36000" cy="36000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0956DA1-960D-498E-9874-4233DBAD2086}">
      <dsp:nvSpPr>
        <dsp:cNvPr id="0" name=""/>
        <dsp:cNvSpPr/>
      </dsp:nvSpPr>
      <dsp:spPr>
        <a:xfrm>
          <a:off x="8618577" y="917280"/>
          <a:ext cx="2188845" cy="6739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Rassemblement des applications en un programme</a:t>
          </a:r>
        </a:p>
      </dsp:txBody>
      <dsp:txXfrm>
        <a:off x="8618577" y="917280"/>
        <a:ext cx="2188845" cy="673920"/>
      </dsp:txXfrm>
    </dsp:sp>
    <dsp:sp modelId="{9CC77EF6-C13C-47BD-91EF-2E66D143EBD5}">
      <dsp:nvSpPr>
        <dsp:cNvPr id="0" name=""/>
        <dsp:cNvSpPr/>
      </dsp:nvSpPr>
      <dsp:spPr>
        <a:xfrm>
          <a:off x="8344971" y="1778400"/>
          <a:ext cx="36000" cy="36000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36FC07F-CDB9-49D5-A77B-136EF5F60196}">
      <dsp:nvSpPr>
        <dsp:cNvPr id="0" name=""/>
        <dsp:cNvSpPr/>
      </dsp:nvSpPr>
      <dsp:spPr>
        <a:xfrm>
          <a:off x="8618577" y="170640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Réalisation d‘interface graphique (facultatif)</a:t>
          </a:r>
        </a:p>
      </dsp:txBody>
      <dsp:txXfrm>
        <a:off x="8618577" y="1706400"/>
        <a:ext cx="2188845" cy="449280"/>
      </dsp:txXfrm>
    </dsp:sp>
    <dsp:sp modelId="{4FB432C0-1ABE-40F1-BDB0-E902012FD63C}">
      <dsp:nvSpPr>
        <dsp:cNvPr id="0" name=""/>
        <dsp:cNvSpPr/>
      </dsp:nvSpPr>
      <dsp:spPr>
        <a:xfrm>
          <a:off x="8344971" y="2342880"/>
          <a:ext cx="36000" cy="36000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252F413-0DF8-49E3-9A20-2403DCCD0803}">
      <dsp:nvSpPr>
        <dsp:cNvPr id="0" name=""/>
        <dsp:cNvSpPr/>
      </dsp:nvSpPr>
      <dsp:spPr>
        <a:xfrm>
          <a:off x="8618577" y="2270880"/>
          <a:ext cx="2188845" cy="2246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Réalisation des tests</a:t>
          </a:r>
        </a:p>
      </dsp:txBody>
      <dsp:txXfrm>
        <a:off x="8618577" y="2270880"/>
        <a:ext cx="2188845" cy="224640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1C5A853-5050-41EA-ACF1-F275E495773E}">
      <dsp:nvSpPr>
        <dsp:cNvPr id="0" name=""/>
        <dsp:cNvSpPr/>
      </dsp:nvSpPr>
      <dsp:spPr>
        <a:xfrm>
          <a:off x="0" y="0"/>
          <a:ext cx="2736056" cy="34404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6674ABF-D6CA-460F-9513-36418065EBD7}">
      <dsp:nvSpPr>
        <dsp:cNvPr id="0" name=""/>
        <dsp:cNvSpPr/>
      </dsp:nvSpPr>
      <dsp:spPr>
        <a:xfrm>
          <a:off x="0" y="0"/>
          <a:ext cx="2736056" cy="705600"/>
        </a:xfrm>
        <a:prstGeom prst="homePlate">
          <a:avLst>
            <a:gd name="adj" fmla="val 15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Phase de préparation</a:t>
          </a:r>
        </a:p>
      </dsp:txBody>
      <dsp:txXfrm>
        <a:off x="0" y="0"/>
        <a:ext cx="2683136" cy="705600"/>
      </dsp:txXfrm>
    </dsp:sp>
    <dsp:sp modelId="{5C4FC227-0F1C-4CEF-8ABC-14547FF5B28E}">
      <dsp:nvSpPr>
        <dsp:cNvPr id="0" name=""/>
        <dsp:cNvSpPr/>
      </dsp:nvSpPr>
      <dsp:spPr>
        <a:xfrm>
          <a:off x="136802" y="989280"/>
          <a:ext cx="36000" cy="36000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45F8DD8-E5E1-4A4E-9516-F2B9D7FCFD6F}">
      <dsp:nvSpPr>
        <dsp:cNvPr id="0" name=""/>
        <dsp:cNvSpPr/>
      </dsp:nvSpPr>
      <dsp:spPr>
        <a:xfrm>
          <a:off x="410408" y="917280"/>
          <a:ext cx="2188845" cy="6739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rgbClr val="92D050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Auto-formation aux principes du machine-learning</a:t>
          </a:r>
        </a:p>
      </dsp:txBody>
      <dsp:txXfrm>
        <a:off x="410408" y="917280"/>
        <a:ext cx="2188845" cy="673920"/>
      </dsp:txXfrm>
    </dsp:sp>
    <dsp:sp modelId="{45EACF86-C495-4806-A52E-36FEA7811285}">
      <dsp:nvSpPr>
        <dsp:cNvPr id="0" name=""/>
        <dsp:cNvSpPr/>
      </dsp:nvSpPr>
      <dsp:spPr>
        <a:xfrm>
          <a:off x="136802" y="1778400"/>
          <a:ext cx="36000" cy="36000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94118BB-20C7-45DD-8142-C87ABB4823AA}">
      <dsp:nvSpPr>
        <dsp:cNvPr id="0" name=""/>
        <dsp:cNvSpPr/>
      </dsp:nvSpPr>
      <dsp:spPr>
        <a:xfrm>
          <a:off x="410408" y="170640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rgbClr val="92D050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s techniques de compréhension de texte</a:t>
          </a:r>
        </a:p>
      </dsp:txBody>
      <dsp:txXfrm>
        <a:off x="410408" y="1706400"/>
        <a:ext cx="2188845" cy="449280"/>
      </dsp:txXfrm>
    </dsp:sp>
    <dsp:sp modelId="{D6810DCB-A642-4571-A83A-FAEF5C5E7078}">
      <dsp:nvSpPr>
        <dsp:cNvPr id="0" name=""/>
        <dsp:cNvSpPr/>
      </dsp:nvSpPr>
      <dsp:spPr>
        <a:xfrm>
          <a:off x="2736056" y="0"/>
          <a:ext cx="2736056" cy="34404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1207ED9-5F09-4652-BFF5-169BE9A57372}">
      <dsp:nvSpPr>
        <dsp:cNvPr id="0" name=""/>
        <dsp:cNvSpPr/>
      </dsp:nvSpPr>
      <dsp:spPr>
        <a:xfrm>
          <a:off x="2736056" y="0"/>
          <a:ext cx="2736056" cy="705600"/>
        </a:xfrm>
        <a:prstGeom prst="chevron">
          <a:avLst>
            <a:gd name="adj" fmla="val 15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Choix des </a:t>
          </a:r>
          <a:r>
            <a:rPr lang="fr-FR" sz="1600" b="1" kern="1200" noProof="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applications</a:t>
          </a:r>
        </a:p>
      </dsp:txBody>
      <dsp:txXfrm>
        <a:off x="2841896" y="0"/>
        <a:ext cx="2524376" cy="705600"/>
      </dsp:txXfrm>
    </dsp:sp>
    <dsp:sp modelId="{71E3D0DB-5CEC-400D-BB3C-BA4453200D87}">
      <dsp:nvSpPr>
        <dsp:cNvPr id="0" name=""/>
        <dsp:cNvSpPr/>
      </dsp:nvSpPr>
      <dsp:spPr>
        <a:xfrm>
          <a:off x="2872859" y="989280"/>
          <a:ext cx="36000" cy="36000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3BCE79E-19A3-4D8C-960B-CA7DB00C5AE4}">
      <dsp:nvSpPr>
        <dsp:cNvPr id="0" name=""/>
        <dsp:cNvSpPr/>
      </dsp:nvSpPr>
      <dsp:spPr>
        <a:xfrm>
          <a:off x="3146464" y="91728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rgbClr val="92D050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u moteur de recherche</a:t>
          </a:r>
        </a:p>
      </dsp:txBody>
      <dsp:txXfrm>
        <a:off x="3146464" y="917280"/>
        <a:ext cx="2188845" cy="449280"/>
      </dsp:txXfrm>
    </dsp:sp>
    <dsp:sp modelId="{8A0A0400-8AE2-47BE-8145-41AE60A88AE4}">
      <dsp:nvSpPr>
        <dsp:cNvPr id="0" name=""/>
        <dsp:cNvSpPr/>
      </dsp:nvSpPr>
      <dsp:spPr>
        <a:xfrm>
          <a:off x="2872859" y="1553760"/>
          <a:ext cx="36000" cy="3600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1069177-A7AD-4B96-9C82-933B0EFEC5B1}">
      <dsp:nvSpPr>
        <dsp:cNvPr id="0" name=""/>
        <dsp:cNvSpPr/>
      </dsp:nvSpPr>
      <dsp:spPr>
        <a:xfrm>
          <a:off x="3146464" y="148176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rgbClr val="92D050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 catégorisation de texte</a:t>
          </a:r>
        </a:p>
      </dsp:txBody>
      <dsp:txXfrm>
        <a:off x="3146464" y="1481760"/>
        <a:ext cx="2188845" cy="449280"/>
      </dsp:txXfrm>
    </dsp:sp>
    <dsp:sp modelId="{CF05CDD1-A50E-491D-AE92-D50189BE6975}">
      <dsp:nvSpPr>
        <dsp:cNvPr id="0" name=""/>
        <dsp:cNvSpPr/>
      </dsp:nvSpPr>
      <dsp:spPr>
        <a:xfrm>
          <a:off x="2872859" y="2118240"/>
          <a:ext cx="36000" cy="36000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7ACFF19-40E9-428A-B4C4-0B4D2E78B3A5}">
      <dsp:nvSpPr>
        <dsp:cNvPr id="0" name=""/>
        <dsp:cNvSpPr/>
      </dsp:nvSpPr>
      <dsp:spPr>
        <a:xfrm>
          <a:off x="3146464" y="204624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rgbClr val="92D050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 la détection de spam</a:t>
          </a:r>
        </a:p>
      </dsp:txBody>
      <dsp:txXfrm>
        <a:off x="3146464" y="2046240"/>
        <a:ext cx="2188845" cy="449280"/>
      </dsp:txXfrm>
    </dsp:sp>
    <dsp:sp modelId="{BB4EF2ED-4BB7-4450-81F5-DDC2A2CE8B08}">
      <dsp:nvSpPr>
        <dsp:cNvPr id="0" name=""/>
        <dsp:cNvSpPr/>
      </dsp:nvSpPr>
      <dsp:spPr>
        <a:xfrm>
          <a:off x="2872859" y="2682720"/>
          <a:ext cx="36000" cy="36000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D8D533F-6F7A-4D67-ACA6-D2CF39DF6834}">
      <dsp:nvSpPr>
        <dsp:cNvPr id="0" name=""/>
        <dsp:cNvSpPr/>
      </dsp:nvSpPr>
      <dsp:spPr>
        <a:xfrm>
          <a:off x="3146464" y="261072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rgbClr val="92D050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 l‘analyse de sentiment</a:t>
          </a:r>
        </a:p>
      </dsp:txBody>
      <dsp:txXfrm>
        <a:off x="3146464" y="2610720"/>
        <a:ext cx="2188845" cy="449280"/>
      </dsp:txXfrm>
    </dsp:sp>
    <dsp:sp modelId="{9A81DEE1-2736-4E00-8FFE-BFDEECDA2D26}">
      <dsp:nvSpPr>
        <dsp:cNvPr id="0" name=""/>
        <dsp:cNvSpPr/>
      </dsp:nvSpPr>
      <dsp:spPr>
        <a:xfrm>
          <a:off x="5472112" y="0"/>
          <a:ext cx="2736056" cy="34404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0A4F703-AE08-41B4-9E63-869505154997}">
      <dsp:nvSpPr>
        <dsp:cNvPr id="0" name=""/>
        <dsp:cNvSpPr/>
      </dsp:nvSpPr>
      <dsp:spPr>
        <a:xfrm>
          <a:off x="5472112" y="0"/>
          <a:ext cx="2736056" cy="705600"/>
        </a:xfrm>
        <a:prstGeom prst="chevron">
          <a:avLst>
            <a:gd name="adj" fmla="val 15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Developpement des applications</a:t>
          </a:r>
        </a:p>
      </dsp:txBody>
      <dsp:txXfrm>
        <a:off x="5577952" y="0"/>
        <a:ext cx="2524376" cy="705600"/>
      </dsp:txXfrm>
    </dsp:sp>
    <dsp:sp modelId="{69D93163-235A-4AA7-8E97-81BAE0CB0A0D}">
      <dsp:nvSpPr>
        <dsp:cNvPr id="0" name=""/>
        <dsp:cNvSpPr/>
      </dsp:nvSpPr>
      <dsp:spPr>
        <a:xfrm>
          <a:off x="5608915" y="989280"/>
          <a:ext cx="36000" cy="36000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F4998AE-3525-4F97-8641-78BC363FDB7A}">
      <dsp:nvSpPr>
        <dsp:cNvPr id="0" name=""/>
        <dsp:cNvSpPr/>
      </dsp:nvSpPr>
      <dsp:spPr>
        <a:xfrm>
          <a:off x="5882520" y="91728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rgbClr val="92D050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Optmisation des classifieurs</a:t>
          </a:r>
        </a:p>
      </dsp:txBody>
      <dsp:txXfrm>
        <a:off x="5882520" y="917280"/>
        <a:ext cx="2188845" cy="449280"/>
      </dsp:txXfrm>
    </dsp:sp>
    <dsp:sp modelId="{1AFC2A38-1435-4B8A-AC08-4306718DD5FB}">
      <dsp:nvSpPr>
        <dsp:cNvPr id="0" name=""/>
        <dsp:cNvSpPr/>
      </dsp:nvSpPr>
      <dsp:spPr>
        <a:xfrm>
          <a:off x="5608915" y="1553760"/>
          <a:ext cx="36000" cy="3600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021C2CC-D719-46C8-839C-ACBC3C9F8C0D}">
      <dsp:nvSpPr>
        <dsp:cNvPr id="0" name=""/>
        <dsp:cNvSpPr/>
      </dsp:nvSpPr>
      <dsp:spPr>
        <a:xfrm>
          <a:off x="5882520" y="1481760"/>
          <a:ext cx="2188845" cy="6739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rgbClr val="92D050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‘une 5ième application: Résumé de texte</a:t>
          </a:r>
        </a:p>
      </dsp:txBody>
      <dsp:txXfrm>
        <a:off x="5882520" y="1481760"/>
        <a:ext cx="2188845" cy="673920"/>
      </dsp:txXfrm>
    </dsp:sp>
    <dsp:sp modelId="{2BD4F195-137F-42F9-A1DA-1CA82C3F158D}">
      <dsp:nvSpPr>
        <dsp:cNvPr id="0" name=""/>
        <dsp:cNvSpPr/>
      </dsp:nvSpPr>
      <dsp:spPr>
        <a:xfrm>
          <a:off x="8208168" y="0"/>
          <a:ext cx="2736056" cy="34404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9C87496-D0F6-4B09-BFF2-A2B327A006A8}">
      <dsp:nvSpPr>
        <dsp:cNvPr id="0" name=""/>
        <dsp:cNvSpPr/>
      </dsp:nvSpPr>
      <dsp:spPr>
        <a:xfrm>
          <a:off x="8208168" y="0"/>
          <a:ext cx="2736056" cy="705600"/>
        </a:xfrm>
        <a:prstGeom prst="chevron">
          <a:avLst>
            <a:gd name="adj" fmla="val 15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Finalisation du projet</a:t>
          </a:r>
        </a:p>
      </dsp:txBody>
      <dsp:txXfrm>
        <a:off x="8314008" y="0"/>
        <a:ext cx="2524376" cy="705600"/>
      </dsp:txXfrm>
    </dsp:sp>
    <dsp:sp modelId="{12492890-BADB-43A0-BC98-58FBEFF187C3}">
      <dsp:nvSpPr>
        <dsp:cNvPr id="0" name=""/>
        <dsp:cNvSpPr/>
      </dsp:nvSpPr>
      <dsp:spPr>
        <a:xfrm>
          <a:off x="8344971" y="989280"/>
          <a:ext cx="36000" cy="36000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0956DA1-960D-498E-9874-4233DBAD2086}">
      <dsp:nvSpPr>
        <dsp:cNvPr id="0" name=""/>
        <dsp:cNvSpPr/>
      </dsp:nvSpPr>
      <dsp:spPr>
        <a:xfrm>
          <a:off x="8618577" y="917280"/>
          <a:ext cx="2188845" cy="6739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rgbClr val="FFFF00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Rassemblement des applications en un programme</a:t>
          </a:r>
        </a:p>
      </dsp:txBody>
      <dsp:txXfrm>
        <a:off x="8618577" y="917280"/>
        <a:ext cx="2188845" cy="673920"/>
      </dsp:txXfrm>
    </dsp:sp>
    <dsp:sp modelId="{9CC77EF6-C13C-47BD-91EF-2E66D143EBD5}">
      <dsp:nvSpPr>
        <dsp:cNvPr id="0" name=""/>
        <dsp:cNvSpPr/>
      </dsp:nvSpPr>
      <dsp:spPr>
        <a:xfrm>
          <a:off x="8344971" y="1778400"/>
          <a:ext cx="36000" cy="36000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36FC07F-CDB9-49D5-A77B-136EF5F60196}">
      <dsp:nvSpPr>
        <dsp:cNvPr id="0" name=""/>
        <dsp:cNvSpPr/>
      </dsp:nvSpPr>
      <dsp:spPr>
        <a:xfrm>
          <a:off x="8618577" y="170640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rgbClr val="FF0000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Réalisation d‘interface graphique (facultatif)</a:t>
          </a:r>
        </a:p>
      </dsp:txBody>
      <dsp:txXfrm>
        <a:off x="8618577" y="1706400"/>
        <a:ext cx="2188845" cy="449280"/>
      </dsp:txXfrm>
    </dsp:sp>
    <dsp:sp modelId="{4FB432C0-1ABE-40F1-BDB0-E902012FD63C}">
      <dsp:nvSpPr>
        <dsp:cNvPr id="0" name=""/>
        <dsp:cNvSpPr/>
      </dsp:nvSpPr>
      <dsp:spPr>
        <a:xfrm>
          <a:off x="8344971" y="2342880"/>
          <a:ext cx="36000" cy="36000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252F413-0DF8-49E3-9A20-2403DCCD0803}">
      <dsp:nvSpPr>
        <dsp:cNvPr id="0" name=""/>
        <dsp:cNvSpPr/>
      </dsp:nvSpPr>
      <dsp:spPr>
        <a:xfrm>
          <a:off x="8618577" y="2270880"/>
          <a:ext cx="2188845" cy="2246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rgbClr val="FFFF00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Réalisation des tests</a:t>
          </a:r>
        </a:p>
      </dsp:txBody>
      <dsp:txXfrm>
        <a:off x="8618577" y="2270880"/>
        <a:ext cx="2188845" cy="22464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adeinoffice.com/office/officeart/2005/8/layout/ProzessketteMitTextboxenUnterhalb">
  <dgm:title val="Prozesskette mit Textboxen unterhalb"/>
  <dgm:desc val="Made in Office GmbH"/>
  <dgm:catLst>
    <dgm:cat type="other" pri="1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  <dgm:pt modelId="5">
          <dgm:prSet phldr="1"/>
        </dgm:pt>
        <dgm:pt modelId="51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  <dgm:cxn modelId="12" srcId="1" destId="11" srcOrd="0" destOrd="0"/>
        <dgm:cxn modelId="22" srcId="2" destId="21" srcOrd="0" destOrd="0"/>
        <dgm:cxn modelId="32" srcId="3" destId="31" srcOrd="0" destOrd="0"/>
        <dgm:cxn modelId="42" srcId="4" destId="41" srcOrd="0" destOrd="0"/>
        <dgm:cxn modelId="52" srcId="5" destId="51" srcOrd="0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</dgm:varLst>
    <dgm:alg type="lin"/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w" for="ch" forName="space" refType="w" refFor="ch" refForName="composite" fact="0"/>
      <dgm:constr type="primFontSz" for="des" forName="txLvl1" op="equ" val="16"/>
      <dgm:constr type="primFontSz" for="des" forName="txLvl2" op="equ" val="16"/>
    </dgm:constrLst>
    <dgm:forEach name="Name1" axis="ch" ptType="node">
      <dgm:layoutNode name="composite">
        <dgm:alg type="composite"/>
        <dgm:constrLst>
          <dgm:constr type="l" for="ch" forName="background"/>
          <dgm:constr type="t" for="ch" forName="background"/>
          <dgm:constr type="w" for="ch" forName="background" refType="w"/>
          <dgm:constr type="h" for="ch" forName="background" refType="h"/>
          <dgm:constr type="l" for="ch" forName="txLvl1"/>
          <dgm:constr type="t" for="ch" forName="txLvl1"/>
          <dgm:constr type="w" for="ch" forName="txLvl1" refType="w"/>
          <dgm:constr type="h" for="ch" forName="txLvl1" val="19.6"/>
          <dgm:constr type="l" for="ch" forName="lin"/>
          <dgm:constr type="t" for="ch" forName="lin" refType="h" refFor="ch" refForName="txLvl1" fact="1.3"/>
          <dgm:constr type="w" for="ch" forName="lin" refType="w"/>
        </dgm:constrLst>
        <dgm:layoutNode name="background" styleLbl="revTx">
          <dgm:alg type="sp"/>
          <dgm:shape xmlns:r="http://schemas.openxmlformats.org/officeDocument/2006/relationships" type="rect" r:blip="">
            <dgm:adjLst/>
          </dgm:shape>
          <dgm:presOf/>
          <dgm:constrLst/>
        </dgm:layoutNode>
        <dgm:layoutNode name="txLvl1" styleLbl="alignNode1">
          <dgm:alg type="tx"/>
          <dgm:choose name="Name2">
            <dgm:if name="Name3" axis="self" ptType="node" func="pos" op="equ" val="1">
              <dgm:shape xmlns:r="http://schemas.openxmlformats.org/officeDocument/2006/relationships" type="homePlate" r:blip="">
                <dgm:adjLst>
                  <dgm:adj idx="1" val="0.15"/>
                </dgm:adjLst>
              </dgm:shape>
            </dgm:if>
            <dgm:else name="Name4">
              <dgm:shape xmlns:r="http://schemas.openxmlformats.org/officeDocument/2006/relationships" type="chevron" r:blip="">
                <dgm:adjLst>
                  <dgm:adj idx="1" val="0.15"/>
                </dgm:adjLst>
              </dgm:shape>
            </dgm:else>
          </dgm:choose>
          <dgm:presOf axis="self"/>
          <dgm:constrLst>
            <dgm:constr type="lMarg"/>
            <dgm:constr type="rMarg"/>
            <dgm:constr type="tMarg"/>
            <dgm:constr type="bMarg"/>
          </dgm:constrLst>
          <dgm:ruleLst/>
        </dgm:layoutNode>
        <dgm:layoutNode name="lin">
          <dgm:choose name="Name5">
            <dgm:if name="Name6" func="var" arg="dir" op="equ" val="norm">
              <dgm:alg type="lin">
                <dgm:param type="linDir" val="fromT"/>
                <dgm:param type="vertAlign" val="t"/>
                <dgm:param type="nodeHorzAlign" val="l"/>
              </dgm:alg>
            </dgm:if>
            <dgm:else name="Name7">
              <dgm:alg type="lin">
                <dgm:param type="linDir" val="fromT"/>
                <dgm:param type="vertAlign" val="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primFontSz" for="des" forName="txLvl2" val="16"/>
            <dgm:constr type="w" for="des" forName="innerLin" refType="w"/>
            <dgm:constr type="h" for="des" forName="innerLin" refType="primFontSz" refFor="des" refForName="txLvl2" fact="0.39"/>
            <dgm:constr type="h" for="ch" forName="innerSpace" refType="primFontSz" refFor="des" refForName="txLvl2" fact="0.2"/>
          </dgm:constrLst>
          <dgm:ruleLst>
            <dgm:rule type="h" val="INF" fact="NaN" max="NaN"/>
          </dgm:ruleLst>
          <dgm:forEach name="Name8" axis="ch" ptType="node">
            <dgm:layoutNode name="innerLin">
              <dgm:alg type="composite"/>
              <dgm:constrLst>
                <dgm:constr type="l" for="ch" forName="square" refType="w" fact="0.5"/>
                <dgm:constr type="t" for="ch" forName="square" val="2"/>
                <dgm:constr type="w" for="ch" forName="square" val="1"/>
                <dgm:constr type="h" for="ch" forName="square" val="1"/>
                <dgm:constr type="l" for="ch" forName="txLvl2" refType="w" fact="0.6"/>
                <dgm:constr type="w" for="ch" forName="txLvl2" refType="w" fact="0.8"/>
              </dgm:constrLst>
              <dgm:ruleLst>
                <dgm:rule type="h" val="INF" fact="NaN" max="NaN"/>
              </dgm:ruleLst>
              <dgm:layoutNode name="square" styleLbl="alignNode1">
                <dgm:alg type="sp"/>
                <dgm:shape xmlns:r="http://schemas.openxmlformats.org/officeDocument/2006/relationships" type="rect" r:blip="">
                  <dgm:adjLst/>
                </dgm:shape>
                <dgm:presOf/>
              </dgm:layoutNode>
              <dgm:layoutNode name="txLvl2" styleLbl="revTx">
                <dgm:choose name="Name9">
                  <dgm:if name="Name10" func="var" arg="dir" op="equ" val="norm">
                    <dgm:alg type="tx">
                      <dgm:param type="parTxLTRAlign" val="l"/>
                      <dgm:param type="parTxRTLAlign" val="l"/>
                    </dgm:alg>
                  </dgm:if>
                  <dgm:else name="Name11">
                    <dgm:alg type="tx">
                      <dgm:param type="parTxLTRAlign" val="r"/>
                      <dgm:param type="parTxRTLAlign" val="r"/>
                    </dgm:alg>
                  </dgm:else>
                </dgm:choose>
                <dgm:shape xmlns:r="http://schemas.openxmlformats.org/officeDocument/2006/relationships" type="rect" r:blip="">
                  <dgm:adjLst/>
                </dgm:shape>
                <dgm:presOf axis="self" ptType="node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h" val="INF" fact="NaN" max="NaN"/>
                </dgm:ruleLst>
              </dgm:layoutNode>
            </dgm:layoutNode>
            <dgm:forEach name="Name12" axis="followSib" ptType="sibTrans" cnt="1">
              <dgm:layoutNode name="innerSpace">
                <dgm:alg type="sp"/>
                <dgm:presOf axis="self"/>
                <dgm:shape xmlns:r="http://schemas.openxmlformats.org/officeDocument/2006/relationships" r:blip="">
                  <dgm:adjLst/>
                </dgm:shape>
                <dgm:constrLst/>
                <dgm:ruleLst/>
              </dgm:layoutNode>
            </dgm:forEach>
          </dgm:forEach>
        </dgm:layoutNode>
      </dgm:layoutNode>
      <dgm:forEach name="Name13" axis="followSib" ptType="sibTrans" cnt="1">
        <dgm:layoutNode name="space">
          <dgm:alg type="sp"/>
          <dgm:presOf axis="self"/>
          <dgm:shape xmlns:r="http://schemas.openxmlformats.org/officeDocument/2006/relationships" r:blip="">
            <dgm:adjLst/>
          </dgm:shape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adeinoffice.com/office/officeart/2005/8/layout/ProzessketteMitTextboxenUnterhalb">
  <dgm:title val="Prozesskette mit Textboxen unterhalb"/>
  <dgm:desc val="Made in Office GmbH"/>
  <dgm:catLst>
    <dgm:cat type="other" pri="1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  <dgm:pt modelId="5">
          <dgm:prSet phldr="1"/>
        </dgm:pt>
        <dgm:pt modelId="51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  <dgm:cxn modelId="12" srcId="1" destId="11" srcOrd="0" destOrd="0"/>
        <dgm:cxn modelId="22" srcId="2" destId="21" srcOrd="0" destOrd="0"/>
        <dgm:cxn modelId="32" srcId="3" destId="31" srcOrd="0" destOrd="0"/>
        <dgm:cxn modelId="42" srcId="4" destId="41" srcOrd="0" destOrd="0"/>
        <dgm:cxn modelId="52" srcId="5" destId="51" srcOrd="0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</dgm:varLst>
    <dgm:alg type="lin"/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w" for="ch" forName="space" refType="w" refFor="ch" refForName="composite" fact="0"/>
      <dgm:constr type="primFontSz" for="des" forName="txLvl1" op="equ" val="16"/>
      <dgm:constr type="primFontSz" for="des" forName="txLvl2" op="equ" val="16"/>
    </dgm:constrLst>
    <dgm:forEach name="Name1" axis="ch" ptType="node">
      <dgm:layoutNode name="composite">
        <dgm:alg type="composite"/>
        <dgm:constrLst>
          <dgm:constr type="l" for="ch" forName="background"/>
          <dgm:constr type="t" for="ch" forName="background"/>
          <dgm:constr type="w" for="ch" forName="background" refType="w"/>
          <dgm:constr type="h" for="ch" forName="background" refType="h"/>
          <dgm:constr type="l" for="ch" forName="txLvl1"/>
          <dgm:constr type="t" for="ch" forName="txLvl1"/>
          <dgm:constr type="w" for="ch" forName="txLvl1" refType="w"/>
          <dgm:constr type="h" for="ch" forName="txLvl1" val="19.6"/>
          <dgm:constr type="l" for="ch" forName="lin"/>
          <dgm:constr type="t" for="ch" forName="lin" refType="h" refFor="ch" refForName="txLvl1" fact="1.3"/>
          <dgm:constr type="w" for="ch" forName="lin" refType="w"/>
        </dgm:constrLst>
        <dgm:layoutNode name="background" styleLbl="revTx">
          <dgm:alg type="sp"/>
          <dgm:shape xmlns:r="http://schemas.openxmlformats.org/officeDocument/2006/relationships" type="rect" r:blip="">
            <dgm:adjLst/>
          </dgm:shape>
          <dgm:presOf/>
          <dgm:constrLst/>
        </dgm:layoutNode>
        <dgm:layoutNode name="txLvl1" styleLbl="alignNode1">
          <dgm:alg type="tx"/>
          <dgm:choose name="Name2">
            <dgm:if name="Name3" axis="self" ptType="node" func="pos" op="equ" val="1">
              <dgm:shape xmlns:r="http://schemas.openxmlformats.org/officeDocument/2006/relationships" type="homePlate" r:blip="">
                <dgm:adjLst>
                  <dgm:adj idx="1" val="0.15"/>
                </dgm:adjLst>
              </dgm:shape>
            </dgm:if>
            <dgm:else name="Name4">
              <dgm:shape xmlns:r="http://schemas.openxmlformats.org/officeDocument/2006/relationships" type="chevron" r:blip="">
                <dgm:adjLst>
                  <dgm:adj idx="1" val="0.15"/>
                </dgm:adjLst>
              </dgm:shape>
            </dgm:else>
          </dgm:choose>
          <dgm:presOf axis="self"/>
          <dgm:constrLst>
            <dgm:constr type="lMarg"/>
            <dgm:constr type="rMarg"/>
            <dgm:constr type="tMarg"/>
            <dgm:constr type="bMarg"/>
          </dgm:constrLst>
          <dgm:ruleLst/>
        </dgm:layoutNode>
        <dgm:layoutNode name="lin">
          <dgm:choose name="Name5">
            <dgm:if name="Name6" func="var" arg="dir" op="equ" val="norm">
              <dgm:alg type="lin">
                <dgm:param type="linDir" val="fromT"/>
                <dgm:param type="vertAlign" val="t"/>
                <dgm:param type="nodeHorzAlign" val="l"/>
              </dgm:alg>
            </dgm:if>
            <dgm:else name="Name7">
              <dgm:alg type="lin">
                <dgm:param type="linDir" val="fromT"/>
                <dgm:param type="vertAlign" val="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primFontSz" for="des" forName="txLvl2" val="16"/>
            <dgm:constr type="w" for="des" forName="innerLin" refType="w"/>
            <dgm:constr type="h" for="des" forName="innerLin" refType="primFontSz" refFor="des" refForName="txLvl2" fact="0.39"/>
            <dgm:constr type="h" for="ch" forName="innerSpace" refType="primFontSz" refFor="des" refForName="txLvl2" fact="0.2"/>
          </dgm:constrLst>
          <dgm:ruleLst>
            <dgm:rule type="h" val="INF" fact="NaN" max="NaN"/>
          </dgm:ruleLst>
          <dgm:forEach name="Name8" axis="ch" ptType="node">
            <dgm:layoutNode name="innerLin">
              <dgm:alg type="composite"/>
              <dgm:constrLst>
                <dgm:constr type="l" for="ch" forName="square" refType="w" fact="0.5"/>
                <dgm:constr type="t" for="ch" forName="square" val="2"/>
                <dgm:constr type="w" for="ch" forName="square" val="1"/>
                <dgm:constr type="h" for="ch" forName="square" val="1"/>
                <dgm:constr type="l" for="ch" forName="txLvl2" refType="w" fact="0.6"/>
                <dgm:constr type="w" for="ch" forName="txLvl2" refType="w" fact="0.8"/>
              </dgm:constrLst>
              <dgm:ruleLst>
                <dgm:rule type="h" val="INF" fact="NaN" max="NaN"/>
              </dgm:ruleLst>
              <dgm:layoutNode name="square" styleLbl="alignNode1">
                <dgm:alg type="sp"/>
                <dgm:shape xmlns:r="http://schemas.openxmlformats.org/officeDocument/2006/relationships" type="rect" r:blip="">
                  <dgm:adjLst/>
                </dgm:shape>
                <dgm:presOf/>
              </dgm:layoutNode>
              <dgm:layoutNode name="txLvl2" styleLbl="revTx">
                <dgm:choose name="Name9">
                  <dgm:if name="Name10" func="var" arg="dir" op="equ" val="norm">
                    <dgm:alg type="tx">
                      <dgm:param type="parTxLTRAlign" val="l"/>
                      <dgm:param type="parTxRTLAlign" val="l"/>
                    </dgm:alg>
                  </dgm:if>
                  <dgm:else name="Name11">
                    <dgm:alg type="tx">
                      <dgm:param type="parTxLTRAlign" val="r"/>
                      <dgm:param type="parTxRTLAlign" val="r"/>
                    </dgm:alg>
                  </dgm:else>
                </dgm:choose>
                <dgm:shape xmlns:r="http://schemas.openxmlformats.org/officeDocument/2006/relationships" type="rect" r:blip="">
                  <dgm:adjLst/>
                </dgm:shape>
                <dgm:presOf axis="self" ptType="node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h" val="INF" fact="NaN" max="NaN"/>
                </dgm:ruleLst>
              </dgm:layoutNode>
            </dgm:layoutNode>
            <dgm:forEach name="Name12" axis="followSib" ptType="sibTrans" cnt="1">
              <dgm:layoutNode name="innerSpace">
                <dgm:alg type="sp"/>
                <dgm:presOf axis="self"/>
                <dgm:shape xmlns:r="http://schemas.openxmlformats.org/officeDocument/2006/relationships" r:blip="">
                  <dgm:adjLst/>
                </dgm:shape>
                <dgm:constrLst/>
                <dgm:ruleLst/>
              </dgm:layoutNode>
            </dgm:forEach>
          </dgm:forEach>
        </dgm:layoutNode>
      </dgm:layoutNode>
      <dgm:forEach name="Name13" axis="followSib" ptType="sibTrans" cnt="1">
        <dgm:layoutNode name="space">
          <dgm:alg type="sp"/>
          <dgm:presOf axis="self"/>
          <dgm:shape xmlns:r="http://schemas.openxmlformats.org/officeDocument/2006/relationships" r:blip="">
            <dgm:adjLst/>
          </dgm:shape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adeinoffice.com/office/officeart/2005/8/layout/ProzessketteMitTextboxenUnterhalb">
  <dgm:title val="Prozesskette mit Textboxen unterhalb"/>
  <dgm:desc val="Made in Office GmbH"/>
  <dgm:catLst>
    <dgm:cat type="other" pri="1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  <dgm:pt modelId="5">
          <dgm:prSet phldr="1"/>
        </dgm:pt>
        <dgm:pt modelId="51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  <dgm:cxn modelId="12" srcId="1" destId="11" srcOrd="0" destOrd="0"/>
        <dgm:cxn modelId="22" srcId="2" destId="21" srcOrd="0" destOrd="0"/>
        <dgm:cxn modelId="32" srcId="3" destId="31" srcOrd="0" destOrd="0"/>
        <dgm:cxn modelId="42" srcId="4" destId="41" srcOrd="0" destOrd="0"/>
        <dgm:cxn modelId="52" srcId="5" destId="51" srcOrd="0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</dgm:varLst>
    <dgm:alg type="lin"/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w" for="ch" forName="space" refType="w" refFor="ch" refForName="composite" fact="0"/>
      <dgm:constr type="primFontSz" for="des" forName="txLvl1" op="equ" val="16"/>
      <dgm:constr type="primFontSz" for="des" forName="txLvl2" op="equ" val="16"/>
    </dgm:constrLst>
    <dgm:forEach name="Name1" axis="ch" ptType="node">
      <dgm:layoutNode name="composite">
        <dgm:alg type="composite"/>
        <dgm:constrLst>
          <dgm:constr type="l" for="ch" forName="background"/>
          <dgm:constr type="t" for="ch" forName="background"/>
          <dgm:constr type="w" for="ch" forName="background" refType="w"/>
          <dgm:constr type="h" for="ch" forName="background" refType="h"/>
          <dgm:constr type="l" for="ch" forName="txLvl1"/>
          <dgm:constr type="t" for="ch" forName="txLvl1"/>
          <dgm:constr type="w" for="ch" forName="txLvl1" refType="w"/>
          <dgm:constr type="h" for="ch" forName="txLvl1" val="19.6"/>
          <dgm:constr type="l" for="ch" forName="lin"/>
          <dgm:constr type="t" for="ch" forName="lin" refType="h" refFor="ch" refForName="txLvl1" fact="1.3"/>
          <dgm:constr type="w" for="ch" forName="lin" refType="w"/>
        </dgm:constrLst>
        <dgm:layoutNode name="background" styleLbl="revTx">
          <dgm:alg type="sp"/>
          <dgm:shape xmlns:r="http://schemas.openxmlformats.org/officeDocument/2006/relationships" type="rect" r:blip="">
            <dgm:adjLst/>
          </dgm:shape>
          <dgm:presOf/>
          <dgm:constrLst/>
        </dgm:layoutNode>
        <dgm:layoutNode name="txLvl1" styleLbl="alignNode1">
          <dgm:alg type="tx"/>
          <dgm:choose name="Name2">
            <dgm:if name="Name3" axis="self" ptType="node" func="pos" op="equ" val="1">
              <dgm:shape xmlns:r="http://schemas.openxmlformats.org/officeDocument/2006/relationships" type="homePlate" r:blip="">
                <dgm:adjLst>
                  <dgm:adj idx="1" val="0.15"/>
                </dgm:adjLst>
              </dgm:shape>
            </dgm:if>
            <dgm:else name="Name4">
              <dgm:shape xmlns:r="http://schemas.openxmlformats.org/officeDocument/2006/relationships" type="chevron" r:blip="">
                <dgm:adjLst>
                  <dgm:adj idx="1" val="0.15"/>
                </dgm:adjLst>
              </dgm:shape>
            </dgm:else>
          </dgm:choose>
          <dgm:presOf axis="self"/>
          <dgm:constrLst>
            <dgm:constr type="lMarg"/>
            <dgm:constr type="rMarg"/>
            <dgm:constr type="tMarg"/>
            <dgm:constr type="bMarg"/>
          </dgm:constrLst>
          <dgm:ruleLst/>
        </dgm:layoutNode>
        <dgm:layoutNode name="lin">
          <dgm:choose name="Name5">
            <dgm:if name="Name6" func="var" arg="dir" op="equ" val="norm">
              <dgm:alg type="lin">
                <dgm:param type="linDir" val="fromT"/>
                <dgm:param type="vertAlign" val="t"/>
                <dgm:param type="nodeHorzAlign" val="l"/>
              </dgm:alg>
            </dgm:if>
            <dgm:else name="Name7">
              <dgm:alg type="lin">
                <dgm:param type="linDir" val="fromT"/>
                <dgm:param type="vertAlign" val="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primFontSz" for="des" forName="txLvl2" val="16"/>
            <dgm:constr type="w" for="des" forName="innerLin" refType="w"/>
            <dgm:constr type="h" for="des" forName="innerLin" refType="primFontSz" refFor="des" refForName="txLvl2" fact="0.39"/>
            <dgm:constr type="h" for="ch" forName="innerSpace" refType="primFontSz" refFor="des" refForName="txLvl2" fact="0.2"/>
          </dgm:constrLst>
          <dgm:ruleLst>
            <dgm:rule type="h" val="INF" fact="NaN" max="NaN"/>
          </dgm:ruleLst>
          <dgm:forEach name="Name8" axis="ch" ptType="node">
            <dgm:layoutNode name="innerLin">
              <dgm:alg type="composite"/>
              <dgm:constrLst>
                <dgm:constr type="l" for="ch" forName="square" refType="w" fact="0.5"/>
                <dgm:constr type="t" for="ch" forName="square" val="2"/>
                <dgm:constr type="w" for="ch" forName="square" val="1"/>
                <dgm:constr type="h" for="ch" forName="square" val="1"/>
                <dgm:constr type="l" for="ch" forName="txLvl2" refType="w" fact="0.6"/>
                <dgm:constr type="w" for="ch" forName="txLvl2" refType="w" fact="0.8"/>
              </dgm:constrLst>
              <dgm:ruleLst>
                <dgm:rule type="h" val="INF" fact="NaN" max="NaN"/>
              </dgm:ruleLst>
              <dgm:layoutNode name="square" styleLbl="alignNode1">
                <dgm:alg type="sp"/>
                <dgm:shape xmlns:r="http://schemas.openxmlformats.org/officeDocument/2006/relationships" type="rect" r:blip="">
                  <dgm:adjLst/>
                </dgm:shape>
                <dgm:presOf/>
              </dgm:layoutNode>
              <dgm:layoutNode name="txLvl2" styleLbl="revTx">
                <dgm:choose name="Name9">
                  <dgm:if name="Name10" func="var" arg="dir" op="equ" val="norm">
                    <dgm:alg type="tx">
                      <dgm:param type="parTxLTRAlign" val="l"/>
                      <dgm:param type="parTxRTLAlign" val="l"/>
                    </dgm:alg>
                  </dgm:if>
                  <dgm:else name="Name11">
                    <dgm:alg type="tx">
                      <dgm:param type="parTxLTRAlign" val="r"/>
                      <dgm:param type="parTxRTLAlign" val="r"/>
                    </dgm:alg>
                  </dgm:else>
                </dgm:choose>
                <dgm:shape xmlns:r="http://schemas.openxmlformats.org/officeDocument/2006/relationships" type="rect" r:blip="">
                  <dgm:adjLst/>
                </dgm:shape>
                <dgm:presOf axis="self" ptType="node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h" val="INF" fact="NaN" max="NaN"/>
                </dgm:ruleLst>
              </dgm:layoutNode>
            </dgm:layoutNode>
            <dgm:forEach name="Name12" axis="followSib" ptType="sibTrans" cnt="1">
              <dgm:layoutNode name="innerSpace">
                <dgm:alg type="sp"/>
                <dgm:presOf axis="self"/>
                <dgm:shape xmlns:r="http://schemas.openxmlformats.org/officeDocument/2006/relationships" r:blip="">
                  <dgm:adjLst/>
                </dgm:shape>
                <dgm:constrLst/>
                <dgm:ruleLst/>
              </dgm:layoutNode>
            </dgm:forEach>
          </dgm:forEach>
        </dgm:layoutNode>
      </dgm:layoutNode>
      <dgm:forEach name="Name13" axis="followSib" ptType="sibTrans" cnt="1">
        <dgm:layoutNode name="space">
          <dgm:alg type="sp"/>
          <dgm:presOf axis="self"/>
          <dgm:shape xmlns:r="http://schemas.openxmlformats.org/officeDocument/2006/relationships" r:blip="">
            <dgm:adjLst/>
          </dgm:shape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adeinoffice.com/office/officeart/2005/8/layout/ProzessketteMitTextboxenUnterhalb">
  <dgm:title val="Prozesskette mit Textboxen unterhalb"/>
  <dgm:desc val="Made in Office GmbH"/>
  <dgm:catLst>
    <dgm:cat type="other" pri="1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  <dgm:pt modelId="5">
          <dgm:prSet phldr="1"/>
        </dgm:pt>
        <dgm:pt modelId="51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  <dgm:cxn modelId="12" srcId="1" destId="11" srcOrd="0" destOrd="0"/>
        <dgm:cxn modelId="22" srcId="2" destId="21" srcOrd="0" destOrd="0"/>
        <dgm:cxn modelId="32" srcId="3" destId="31" srcOrd="0" destOrd="0"/>
        <dgm:cxn modelId="42" srcId="4" destId="41" srcOrd="0" destOrd="0"/>
        <dgm:cxn modelId="52" srcId="5" destId="51" srcOrd="0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</dgm:varLst>
    <dgm:alg type="lin"/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w" for="ch" forName="space" refType="w" refFor="ch" refForName="composite" fact="0"/>
      <dgm:constr type="primFontSz" for="des" forName="txLvl1" op="equ" val="16"/>
      <dgm:constr type="primFontSz" for="des" forName="txLvl2" op="equ" val="16"/>
    </dgm:constrLst>
    <dgm:forEach name="Name1" axis="ch" ptType="node">
      <dgm:layoutNode name="composite">
        <dgm:alg type="composite"/>
        <dgm:constrLst>
          <dgm:constr type="l" for="ch" forName="background"/>
          <dgm:constr type="t" for="ch" forName="background"/>
          <dgm:constr type="w" for="ch" forName="background" refType="w"/>
          <dgm:constr type="h" for="ch" forName="background" refType="h"/>
          <dgm:constr type="l" for="ch" forName="txLvl1"/>
          <dgm:constr type="t" for="ch" forName="txLvl1"/>
          <dgm:constr type="w" for="ch" forName="txLvl1" refType="w"/>
          <dgm:constr type="h" for="ch" forName="txLvl1" val="19.6"/>
          <dgm:constr type="l" for="ch" forName="lin"/>
          <dgm:constr type="t" for="ch" forName="lin" refType="h" refFor="ch" refForName="txLvl1" fact="1.3"/>
          <dgm:constr type="w" for="ch" forName="lin" refType="w"/>
        </dgm:constrLst>
        <dgm:layoutNode name="background" styleLbl="revTx">
          <dgm:alg type="sp"/>
          <dgm:shape xmlns:r="http://schemas.openxmlformats.org/officeDocument/2006/relationships" type="rect" r:blip="">
            <dgm:adjLst/>
          </dgm:shape>
          <dgm:presOf/>
          <dgm:constrLst/>
        </dgm:layoutNode>
        <dgm:layoutNode name="txLvl1" styleLbl="alignNode1">
          <dgm:alg type="tx"/>
          <dgm:choose name="Name2">
            <dgm:if name="Name3" axis="self" ptType="node" func="pos" op="equ" val="1">
              <dgm:shape xmlns:r="http://schemas.openxmlformats.org/officeDocument/2006/relationships" type="homePlate" r:blip="">
                <dgm:adjLst>
                  <dgm:adj idx="1" val="0.15"/>
                </dgm:adjLst>
              </dgm:shape>
            </dgm:if>
            <dgm:else name="Name4">
              <dgm:shape xmlns:r="http://schemas.openxmlformats.org/officeDocument/2006/relationships" type="chevron" r:blip="">
                <dgm:adjLst>
                  <dgm:adj idx="1" val="0.15"/>
                </dgm:adjLst>
              </dgm:shape>
            </dgm:else>
          </dgm:choose>
          <dgm:presOf axis="self"/>
          <dgm:constrLst>
            <dgm:constr type="lMarg"/>
            <dgm:constr type="rMarg"/>
            <dgm:constr type="tMarg"/>
            <dgm:constr type="bMarg"/>
          </dgm:constrLst>
          <dgm:ruleLst/>
        </dgm:layoutNode>
        <dgm:layoutNode name="lin">
          <dgm:choose name="Name5">
            <dgm:if name="Name6" func="var" arg="dir" op="equ" val="norm">
              <dgm:alg type="lin">
                <dgm:param type="linDir" val="fromT"/>
                <dgm:param type="vertAlign" val="t"/>
                <dgm:param type="nodeHorzAlign" val="l"/>
              </dgm:alg>
            </dgm:if>
            <dgm:else name="Name7">
              <dgm:alg type="lin">
                <dgm:param type="linDir" val="fromT"/>
                <dgm:param type="vertAlign" val="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primFontSz" for="des" forName="txLvl2" val="16"/>
            <dgm:constr type="w" for="des" forName="innerLin" refType="w"/>
            <dgm:constr type="h" for="des" forName="innerLin" refType="primFontSz" refFor="des" refForName="txLvl2" fact="0.39"/>
            <dgm:constr type="h" for="ch" forName="innerSpace" refType="primFontSz" refFor="des" refForName="txLvl2" fact="0.2"/>
          </dgm:constrLst>
          <dgm:ruleLst>
            <dgm:rule type="h" val="INF" fact="NaN" max="NaN"/>
          </dgm:ruleLst>
          <dgm:forEach name="Name8" axis="ch" ptType="node">
            <dgm:layoutNode name="innerLin">
              <dgm:alg type="composite"/>
              <dgm:constrLst>
                <dgm:constr type="l" for="ch" forName="square" refType="w" fact="0.5"/>
                <dgm:constr type="t" for="ch" forName="square" val="2"/>
                <dgm:constr type="w" for="ch" forName="square" val="1"/>
                <dgm:constr type="h" for="ch" forName="square" val="1"/>
                <dgm:constr type="l" for="ch" forName="txLvl2" refType="w" fact="0.6"/>
                <dgm:constr type="w" for="ch" forName="txLvl2" refType="w" fact="0.8"/>
              </dgm:constrLst>
              <dgm:ruleLst>
                <dgm:rule type="h" val="INF" fact="NaN" max="NaN"/>
              </dgm:ruleLst>
              <dgm:layoutNode name="square" styleLbl="alignNode1">
                <dgm:alg type="sp"/>
                <dgm:shape xmlns:r="http://schemas.openxmlformats.org/officeDocument/2006/relationships" type="rect" r:blip="">
                  <dgm:adjLst/>
                </dgm:shape>
                <dgm:presOf/>
              </dgm:layoutNode>
              <dgm:layoutNode name="txLvl2" styleLbl="revTx">
                <dgm:choose name="Name9">
                  <dgm:if name="Name10" func="var" arg="dir" op="equ" val="norm">
                    <dgm:alg type="tx">
                      <dgm:param type="parTxLTRAlign" val="l"/>
                      <dgm:param type="parTxRTLAlign" val="l"/>
                    </dgm:alg>
                  </dgm:if>
                  <dgm:else name="Name11">
                    <dgm:alg type="tx">
                      <dgm:param type="parTxLTRAlign" val="r"/>
                      <dgm:param type="parTxRTLAlign" val="r"/>
                    </dgm:alg>
                  </dgm:else>
                </dgm:choose>
                <dgm:shape xmlns:r="http://schemas.openxmlformats.org/officeDocument/2006/relationships" type="rect" r:blip="">
                  <dgm:adjLst/>
                </dgm:shape>
                <dgm:presOf axis="self" ptType="node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h" val="INF" fact="NaN" max="NaN"/>
                </dgm:ruleLst>
              </dgm:layoutNode>
            </dgm:layoutNode>
            <dgm:forEach name="Name12" axis="followSib" ptType="sibTrans" cnt="1">
              <dgm:layoutNode name="innerSpace">
                <dgm:alg type="sp"/>
                <dgm:presOf axis="self"/>
                <dgm:shape xmlns:r="http://schemas.openxmlformats.org/officeDocument/2006/relationships" r:blip="">
                  <dgm:adjLst/>
                </dgm:shape>
                <dgm:constrLst/>
                <dgm:ruleLst/>
              </dgm:layoutNode>
            </dgm:forEach>
          </dgm:forEach>
        </dgm:layoutNode>
      </dgm:layoutNode>
      <dgm:forEach name="Name13" axis="followSib" ptType="sibTrans" cnt="1">
        <dgm:layoutNode name="space">
          <dgm:alg type="sp"/>
          <dgm:presOf axis="self"/>
          <dgm:shape xmlns:r="http://schemas.openxmlformats.org/officeDocument/2006/relationships" r:blip="">
            <dgm:adjLst/>
          </dgm:shape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adeinoffice.com/office/officeart/2005/8/layout/ProzessketteMitTextboxenUnterhalb">
  <dgm:title val="Prozesskette mit Textboxen unterhalb"/>
  <dgm:desc val="Made in Office GmbH"/>
  <dgm:catLst>
    <dgm:cat type="other" pri="1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  <dgm:pt modelId="5">
          <dgm:prSet phldr="1"/>
        </dgm:pt>
        <dgm:pt modelId="51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  <dgm:cxn modelId="12" srcId="1" destId="11" srcOrd="0" destOrd="0"/>
        <dgm:cxn modelId="22" srcId="2" destId="21" srcOrd="0" destOrd="0"/>
        <dgm:cxn modelId="32" srcId="3" destId="31" srcOrd="0" destOrd="0"/>
        <dgm:cxn modelId="42" srcId="4" destId="41" srcOrd="0" destOrd="0"/>
        <dgm:cxn modelId="52" srcId="5" destId="51" srcOrd="0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</dgm:varLst>
    <dgm:alg type="lin"/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w" for="ch" forName="space" refType="w" refFor="ch" refForName="composite" fact="0"/>
      <dgm:constr type="primFontSz" for="des" forName="txLvl1" op="equ" val="16"/>
      <dgm:constr type="primFontSz" for="des" forName="txLvl2" op="equ" val="16"/>
    </dgm:constrLst>
    <dgm:forEach name="Name1" axis="ch" ptType="node">
      <dgm:layoutNode name="composite">
        <dgm:alg type="composite"/>
        <dgm:constrLst>
          <dgm:constr type="l" for="ch" forName="background"/>
          <dgm:constr type="t" for="ch" forName="background"/>
          <dgm:constr type="w" for="ch" forName="background" refType="w"/>
          <dgm:constr type="h" for="ch" forName="background" refType="h"/>
          <dgm:constr type="l" for="ch" forName="txLvl1"/>
          <dgm:constr type="t" for="ch" forName="txLvl1"/>
          <dgm:constr type="w" for="ch" forName="txLvl1" refType="w"/>
          <dgm:constr type="h" for="ch" forName="txLvl1" val="19.6"/>
          <dgm:constr type="l" for="ch" forName="lin"/>
          <dgm:constr type="t" for="ch" forName="lin" refType="h" refFor="ch" refForName="txLvl1" fact="1.3"/>
          <dgm:constr type="w" for="ch" forName="lin" refType="w"/>
        </dgm:constrLst>
        <dgm:layoutNode name="background" styleLbl="revTx">
          <dgm:alg type="sp"/>
          <dgm:shape xmlns:r="http://schemas.openxmlformats.org/officeDocument/2006/relationships" type="rect" r:blip="">
            <dgm:adjLst/>
          </dgm:shape>
          <dgm:presOf/>
          <dgm:constrLst/>
        </dgm:layoutNode>
        <dgm:layoutNode name="txLvl1" styleLbl="alignNode1">
          <dgm:alg type="tx"/>
          <dgm:choose name="Name2">
            <dgm:if name="Name3" axis="self" ptType="node" func="pos" op="equ" val="1">
              <dgm:shape xmlns:r="http://schemas.openxmlformats.org/officeDocument/2006/relationships" type="homePlate" r:blip="">
                <dgm:adjLst>
                  <dgm:adj idx="1" val="0.15"/>
                </dgm:adjLst>
              </dgm:shape>
            </dgm:if>
            <dgm:else name="Name4">
              <dgm:shape xmlns:r="http://schemas.openxmlformats.org/officeDocument/2006/relationships" type="chevron" r:blip="">
                <dgm:adjLst>
                  <dgm:adj idx="1" val="0.15"/>
                </dgm:adjLst>
              </dgm:shape>
            </dgm:else>
          </dgm:choose>
          <dgm:presOf axis="self"/>
          <dgm:constrLst>
            <dgm:constr type="lMarg"/>
            <dgm:constr type="rMarg"/>
            <dgm:constr type="tMarg"/>
            <dgm:constr type="bMarg"/>
          </dgm:constrLst>
          <dgm:ruleLst/>
        </dgm:layoutNode>
        <dgm:layoutNode name="lin">
          <dgm:choose name="Name5">
            <dgm:if name="Name6" func="var" arg="dir" op="equ" val="norm">
              <dgm:alg type="lin">
                <dgm:param type="linDir" val="fromT"/>
                <dgm:param type="vertAlign" val="t"/>
                <dgm:param type="nodeHorzAlign" val="l"/>
              </dgm:alg>
            </dgm:if>
            <dgm:else name="Name7">
              <dgm:alg type="lin">
                <dgm:param type="linDir" val="fromT"/>
                <dgm:param type="vertAlign" val="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primFontSz" for="des" forName="txLvl2" val="16"/>
            <dgm:constr type="w" for="des" forName="innerLin" refType="w"/>
            <dgm:constr type="h" for="des" forName="innerLin" refType="primFontSz" refFor="des" refForName="txLvl2" fact="0.39"/>
            <dgm:constr type="h" for="ch" forName="innerSpace" refType="primFontSz" refFor="des" refForName="txLvl2" fact="0.2"/>
          </dgm:constrLst>
          <dgm:ruleLst>
            <dgm:rule type="h" val="INF" fact="NaN" max="NaN"/>
          </dgm:ruleLst>
          <dgm:forEach name="Name8" axis="ch" ptType="node">
            <dgm:layoutNode name="innerLin">
              <dgm:alg type="composite"/>
              <dgm:constrLst>
                <dgm:constr type="l" for="ch" forName="square" refType="w" fact="0.5"/>
                <dgm:constr type="t" for="ch" forName="square" val="2"/>
                <dgm:constr type="w" for="ch" forName="square" val="1"/>
                <dgm:constr type="h" for="ch" forName="square" val="1"/>
                <dgm:constr type="l" for="ch" forName="txLvl2" refType="w" fact="0.6"/>
                <dgm:constr type="w" for="ch" forName="txLvl2" refType="w" fact="0.8"/>
              </dgm:constrLst>
              <dgm:ruleLst>
                <dgm:rule type="h" val="INF" fact="NaN" max="NaN"/>
              </dgm:ruleLst>
              <dgm:layoutNode name="square" styleLbl="alignNode1">
                <dgm:alg type="sp"/>
                <dgm:shape xmlns:r="http://schemas.openxmlformats.org/officeDocument/2006/relationships" type="rect" r:blip="">
                  <dgm:adjLst/>
                </dgm:shape>
                <dgm:presOf/>
              </dgm:layoutNode>
              <dgm:layoutNode name="txLvl2" styleLbl="revTx">
                <dgm:choose name="Name9">
                  <dgm:if name="Name10" func="var" arg="dir" op="equ" val="norm">
                    <dgm:alg type="tx">
                      <dgm:param type="parTxLTRAlign" val="l"/>
                      <dgm:param type="parTxRTLAlign" val="l"/>
                    </dgm:alg>
                  </dgm:if>
                  <dgm:else name="Name11">
                    <dgm:alg type="tx">
                      <dgm:param type="parTxLTRAlign" val="r"/>
                      <dgm:param type="parTxRTLAlign" val="r"/>
                    </dgm:alg>
                  </dgm:else>
                </dgm:choose>
                <dgm:shape xmlns:r="http://schemas.openxmlformats.org/officeDocument/2006/relationships" type="rect" r:blip="">
                  <dgm:adjLst/>
                </dgm:shape>
                <dgm:presOf axis="self" ptType="node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h" val="INF" fact="NaN" max="NaN"/>
                </dgm:ruleLst>
              </dgm:layoutNode>
            </dgm:layoutNode>
            <dgm:forEach name="Name12" axis="followSib" ptType="sibTrans" cnt="1">
              <dgm:layoutNode name="innerSpace">
                <dgm:alg type="sp"/>
                <dgm:presOf axis="self"/>
                <dgm:shape xmlns:r="http://schemas.openxmlformats.org/officeDocument/2006/relationships" r:blip="">
                  <dgm:adjLst/>
                </dgm:shape>
                <dgm:constrLst/>
                <dgm:ruleLst/>
              </dgm:layoutNode>
            </dgm:forEach>
          </dgm:forEach>
        </dgm:layoutNode>
      </dgm:layoutNode>
      <dgm:forEach name="Name13" axis="followSib" ptType="sibTrans" cnt="1">
        <dgm:layoutNode name="space">
          <dgm:alg type="sp"/>
          <dgm:presOf axis="self"/>
          <dgm:shape xmlns:r="http://schemas.openxmlformats.org/officeDocument/2006/relationships" r:blip="">
            <dgm:adjLst/>
          </dgm:shape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B80B40D-5563-4F84-89FE-D7F497A5505D}" type="datetimeFigureOut">
              <a:rPr lang="fr-FR" smtClean="0"/>
              <a:t>31/05/2019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CDDF79-E8AF-404A-9276-4E889B72CD0B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681760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DB0097-BF7F-4533-9C54-BE143E971DEE}" type="slidenum">
              <a:rPr lang="fr-FR" smtClean="0"/>
              <a:t>1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3970725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CDDF79-E8AF-404A-9276-4E889B72CD0B}" type="slidenum">
              <a:rPr lang="fr-FR" smtClean="0"/>
              <a:t>1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0764880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CDDF79-E8AF-404A-9276-4E889B72CD0B}" type="slidenum">
              <a:rPr lang="fr-FR" smtClean="0"/>
              <a:t>2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63246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CDDF79-E8AF-404A-9276-4E889B72CD0B}" type="slidenum">
              <a:rPr lang="fr-FR" smtClean="0"/>
              <a:t>2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7571319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CDDF79-E8AF-404A-9276-4E889B72CD0B}" type="slidenum">
              <a:rPr lang="fr-FR" smtClean="0"/>
              <a:t>2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73626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CDDF79-E8AF-404A-9276-4E889B72CD0B}" type="slidenum">
              <a:rPr lang="fr-FR" smtClean="0"/>
              <a:t>2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3565202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CDDF79-E8AF-404A-9276-4E889B72CD0B}" type="slidenum">
              <a:rPr lang="fr-FR" smtClean="0"/>
              <a:t>2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3336101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CDDF79-E8AF-404A-9276-4E889B72CD0B}" type="slidenum">
              <a:rPr lang="fr-FR" smtClean="0"/>
              <a:t>2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1132556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CDDF79-E8AF-404A-9276-4E889B72CD0B}" type="slidenum">
              <a:rPr lang="fr-FR" smtClean="0"/>
              <a:t>2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1256853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CDDF79-E8AF-404A-9276-4E889B72CD0B}" type="slidenum">
              <a:rPr lang="fr-FR" smtClean="0"/>
              <a:t>2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1617064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CDDF79-E8AF-404A-9276-4E889B72CD0B}" type="slidenum">
              <a:rPr lang="fr-FR" smtClean="0"/>
              <a:t>2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57396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DB0097-BF7F-4533-9C54-BE143E971DEE}" type="slidenum">
              <a:rPr lang="fr-FR" smtClean="0"/>
              <a:t>1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6037947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CDDF79-E8AF-404A-9276-4E889B72CD0B}" type="slidenum">
              <a:rPr lang="fr-FR" smtClean="0"/>
              <a:t>3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8261129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CDDF79-E8AF-404A-9276-4E889B72CD0B}" type="slidenum">
              <a:rPr lang="fr-FR" smtClean="0"/>
              <a:t>3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9798041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CDDF79-E8AF-404A-9276-4E889B72CD0B}" type="slidenum">
              <a:rPr lang="fr-FR" smtClean="0"/>
              <a:t>3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289617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DB0097-BF7F-4533-9C54-BE143E971DEE}" type="slidenum">
              <a:rPr lang="fr-FR" smtClean="0"/>
              <a:t>1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642710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DB0097-BF7F-4533-9C54-BE143E971DEE}" type="slidenum">
              <a:rPr lang="fr-FR" smtClean="0"/>
              <a:t>1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0867166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CDDF79-E8AF-404A-9276-4E889B72CD0B}" type="slidenum">
              <a:rPr lang="fr-FR" smtClean="0"/>
              <a:t>1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8238407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CDDF79-E8AF-404A-9276-4E889B72CD0B}" type="slidenum">
              <a:rPr lang="fr-FR" smtClean="0"/>
              <a:t>1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4270187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CDDF79-E8AF-404A-9276-4E889B72CD0B}" type="slidenum">
              <a:rPr lang="fr-FR" smtClean="0"/>
              <a:t>1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5452721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CDDF79-E8AF-404A-9276-4E889B72CD0B}" type="slidenum">
              <a:rPr lang="fr-FR" smtClean="0"/>
              <a:t>1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2133329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CDDF79-E8AF-404A-9276-4E889B72CD0B}" type="slidenum">
              <a:rPr lang="fr-FR" smtClean="0"/>
              <a:t>1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39145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640CF8F-6547-4E31-B0B0-95AB087864D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9EA3CFEA-CB41-49BD-B8B8-CFD961AA78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83B56A73-DF85-4AEF-97A4-AD55339F49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E61DC3-843F-4382-9604-8CAA1D10B820}" type="datetimeFigureOut">
              <a:rPr lang="fr-FR" smtClean="0"/>
              <a:t>31/05/2019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E116B761-5556-4B51-BB9D-318C8A77CE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4C783778-6F1D-49ED-88A3-49CC94AC11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2E448-F8E5-4251-97B7-C656D988BB1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42841772"/>
      </p:ext>
    </p:extLst>
  </p:cSld>
  <p:clrMapOvr>
    <a:masterClrMapping/>
  </p:clrMapOvr>
  <p:transition spd="slow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D3FFA82-C73C-4195-BE40-315ABA4458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694055DF-28F7-4E94-A181-BC8DA74E97C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1C156B5-A3A0-487B-B6E2-8FD45828DE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E61DC3-843F-4382-9604-8CAA1D10B820}" type="datetimeFigureOut">
              <a:rPr lang="fr-FR" smtClean="0"/>
              <a:t>31/05/2019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45372147-85C0-49DB-9CF3-473DBB5316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A7867A07-150A-49FA-8602-8A6A231D7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2E448-F8E5-4251-97B7-C656D988BB1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92407869"/>
      </p:ext>
    </p:extLst>
  </p:cSld>
  <p:clrMapOvr>
    <a:masterClrMapping/>
  </p:clrMapOvr>
  <p:transition spd="slow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>
            <a:extLst>
              <a:ext uri="{FF2B5EF4-FFF2-40B4-BE49-F238E27FC236}">
                <a16:creationId xmlns:a16="http://schemas.microsoft.com/office/drawing/2014/main" id="{FDA68C95-56F3-4F20-82D2-88D2DEF0D65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D2478DFF-8E95-46AB-924C-483C62F6E70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7FED1FB5-1BE2-4B12-B900-54E5B197E6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E61DC3-843F-4382-9604-8CAA1D10B820}" type="datetimeFigureOut">
              <a:rPr lang="fr-FR" smtClean="0"/>
              <a:t>31/05/2019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385CE540-2274-402B-B59C-579B6F4047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38F9417C-C7C2-45B6-82AB-D18A42287F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2E448-F8E5-4251-97B7-C656D988BB1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29844592"/>
      </p:ext>
    </p:extLst>
  </p:cSld>
  <p:clrMapOvr>
    <a:masterClrMapping/>
  </p:clrMapOvr>
  <p:transition spd="slow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DBC74AD-252C-4748-BD97-CBD66D73B8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38768679-850F-4944-9408-5E0549173A9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C1243EFF-1ED9-4C6B-A91B-003848A284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E61DC3-843F-4382-9604-8CAA1D10B820}" type="datetimeFigureOut">
              <a:rPr lang="fr-FR" smtClean="0"/>
              <a:t>31/05/2019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68A3F15F-F2F9-4409-8F9E-7BCEEC67EE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E2A4B3F-CA7B-4AD9-A450-8F5BFBAD9E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2E448-F8E5-4251-97B7-C656D988BB1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3841889"/>
      </p:ext>
    </p:extLst>
  </p:cSld>
  <p:clrMapOvr>
    <a:masterClrMapping/>
  </p:clrMapOvr>
  <p:transition spd="slow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E991834-76B3-4AE2-809B-CF5DD8D5B2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90C37E65-3898-4AA5-B2F5-7F7E2CDA1E9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0A27334E-A635-4319-AD8F-B3528F0460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E61DC3-843F-4382-9604-8CAA1D10B820}" type="datetimeFigureOut">
              <a:rPr lang="fr-FR" smtClean="0"/>
              <a:t>31/05/2019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45ADA0BB-CB70-4C32-8FA5-F7FBE3295D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F0DC27DC-E1F9-4759-A9B3-26D3A30BE9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2E448-F8E5-4251-97B7-C656D988BB1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98735152"/>
      </p:ext>
    </p:extLst>
  </p:cSld>
  <p:clrMapOvr>
    <a:masterClrMapping/>
  </p:clrMapOvr>
  <p:transition spd="slow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0832304-16E5-4764-B9F7-88DFD6ADAD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3190D22F-BF91-4BF1-83BF-89AA8915B23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ECE727F1-2D33-41EB-8993-BC03A658016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9ACE1576-16E1-490E-8568-0B846F3E1C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E61DC3-843F-4382-9604-8CAA1D10B820}" type="datetimeFigureOut">
              <a:rPr lang="fr-FR" smtClean="0"/>
              <a:t>31/05/2019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9C423F9E-ADC3-47E9-9B61-BFAA7395D7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BFCE5469-7F45-4BFB-91AE-A15E562BB5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2E448-F8E5-4251-97B7-C656D988BB1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47507010"/>
      </p:ext>
    </p:extLst>
  </p:cSld>
  <p:clrMapOvr>
    <a:masterClrMapping/>
  </p:clrMapOvr>
  <p:transition spd="slow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7BE46B0-7F79-45B9-BFFA-939E532DA7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CC8F1C5E-7203-4386-A100-D50F176D5A2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8E35E599-5363-4A7F-B7E6-A5070132105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603B53C9-A1E8-43E6-B170-35F83C4370A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AA40C11D-A388-44AA-AE8B-0CBC10D1B99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68711DD6-A65B-47B5-B4E0-16273244AC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E61DC3-843F-4382-9604-8CAA1D10B820}" type="datetimeFigureOut">
              <a:rPr lang="fr-FR" smtClean="0"/>
              <a:t>31/05/2019</a:t>
            </a:fld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EA22D721-751B-4B15-B160-B57754DDFC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88A48533-F32B-4552-A87E-C8E4ED4181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2E448-F8E5-4251-97B7-C656D988BB1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91805606"/>
      </p:ext>
    </p:extLst>
  </p:cSld>
  <p:clrMapOvr>
    <a:masterClrMapping/>
  </p:clrMapOvr>
  <p:transition spd="slow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E680623-8B5C-4FA3-925D-DC32D0BD04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0293E875-C7E6-4629-89D6-600A7DE60F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E61DC3-843F-4382-9604-8CAA1D10B820}" type="datetimeFigureOut">
              <a:rPr lang="fr-FR" smtClean="0"/>
              <a:t>31/05/2019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F12AD7C8-4722-4027-955E-8DD0C2F1A7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A92FF781-7A33-442C-8D4E-436DB1CED3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2E448-F8E5-4251-97B7-C656D988BB1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66024537"/>
      </p:ext>
    </p:extLst>
  </p:cSld>
  <p:clrMapOvr>
    <a:masterClrMapping/>
  </p:clrMapOvr>
  <p:transition spd="slow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07EB7163-CE18-426C-9F51-C2658947CB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E61DC3-843F-4382-9604-8CAA1D10B820}" type="datetimeFigureOut">
              <a:rPr lang="fr-FR" smtClean="0"/>
              <a:t>31/05/2019</a:t>
            </a:fld>
            <a:endParaRPr lang="fr-FR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7F52516B-6464-42E9-B3E0-0DB5A82408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7A62A07D-72CF-4A59-A700-4D99190736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2E448-F8E5-4251-97B7-C656D988BB1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1745565"/>
      </p:ext>
    </p:extLst>
  </p:cSld>
  <p:clrMapOvr>
    <a:masterClrMapping/>
  </p:clrMapOvr>
  <p:transition spd="slow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BEE902C-567C-458D-9785-C6A57E3818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A7A6C17-06D7-47A2-BAAC-627F544D770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8CA0E2E5-D19A-4632-87B4-73AA7CF285B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6A5A961D-E2AF-45E8-B2DA-B782EF4E88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E61DC3-843F-4382-9604-8CAA1D10B820}" type="datetimeFigureOut">
              <a:rPr lang="fr-FR" smtClean="0"/>
              <a:t>31/05/2019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157E047E-F75B-4B36-A6C1-8E73EBE795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1999A54E-3575-439B-AE36-0B8D1AF50D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2E448-F8E5-4251-97B7-C656D988BB1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72992066"/>
      </p:ext>
    </p:extLst>
  </p:cSld>
  <p:clrMapOvr>
    <a:masterClrMapping/>
  </p:clrMapOvr>
  <p:transition spd="slow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C13C4B2-C2F7-4D49-AA1E-1176CEE1B4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BD232158-D982-4975-9F96-EDFA42E7218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DEB2EF67-2FAC-483E-AF48-5E6EF7DF124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18F00F74-8DAC-43B9-AEB1-C5F5E77FB8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E61DC3-843F-4382-9604-8CAA1D10B820}" type="datetimeFigureOut">
              <a:rPr lang="fr-FR" smtClean="0"/>
              <a:t>31/05/2019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F0DCD156-0AF3-40DB-8EE3-2A36A7955A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2B836D99-C46E-4B77-8B07-66F0B1A52B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2E448-F8E5-4251-97B7-C656D988BB1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10692128"/>
      </p:ext>
    </p:extLst>
  </p:cSld>
  <p:clrMapOvr>
    <a:masterClrMapping/>
  </p:clrMapOvr>
  <p:transition spd="slow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DA2EE014-5ED8-4AC6-8069-980DD5353D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EF77A3AD-2612-44A0-8D42-98CC1ABC026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A78B26B3-4133-4437-902C-76863A6EAAB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AE61DC3-843F-4382-9604-8CAA1D10B820}" type="datetimeFigureOut">
              <a:rPr lang="fr-FR" smtClean="0"/>
              <a:t>31/05/2019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256277B-7BB3-432A-9121-6BDAE41588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0CC5C1F-2545-402D-9B9E-A0A0C23D7F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52E448-F8E5-4251-97B7-C656D988BB1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188023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ransition spd="slow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13" Type="http://schemas.openxmlformats.org/officeDocument/2006/relationships/diagramQuickStyle" Target="../diagrams/quickStyle1.xml"/><Relationship Id="rId3" Type="http://schemas.openxmlformats.org/officeDocument/2006/relationships/tags" Target="../tags/tag3.xml"/><Relationship Id="rId7" Type="http://schemas.openxmlformats.org/officeDocument/2006/relationships/notesSlide" Target="../notesSlides/notesSlide1.xml"/><Relationship Id="rId12" Type="http://schemas.openxmlformats.org/officeDocument/2006/relationships/diagramLayout" Target="../diagrams/layout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1.xml"/><Relationship Id="rId11" Type="http://schemas.openxmlformats.org/officeDocument/2006/relationships/diagramData" Target="../diagrams/data1.xml"/><Relationship Id="rId5" Type="http://schemas.openxmlformats.org/officeDocument/2006/relationships/tags" Target="../tags/tag5.xml"/><Relationship Id="rId15" Type="http://schemas.microsoft.com/office/2007/relationships/diagramDrawing" Target="../diagrams/drawing1.xml"/><Relationship Id="rId10" Type="http://schemas.openxmlformats.org/officeDocument/2006/relationships/image" Target="../media/image2.png"/><Relationship Id="rId4" Type="http://schemas.openxmlformats.org/officeDocument/2006/relationships/tags" Target="../tags/tag4.xml"/><Relationship Id="rId9" Type="http://schemas.microsoft.com/office/2007/relationships/hdphoto" Target="../media/hdphoto1.wdp"/><Relationship Id="rId14" Type="http://schemas.openxmlformats.org/officeDocument/2006/relationships/diagramColors" Target="../diagrams/colors1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13" Type="http://schemas.openxmlformats.org/officeDocument/2006/relationships/diagramLayout" Target="../diagrams/layout2.xml"/><Relationship Id="rId3" Type="http://schemas.openxmlformats.org/officeDocument/2006/relationships/tags" Target="../tags/tag8.xml"/><Relationship Id="rId7" Type="http://schemas.openxmlformats.org/officeDocument/2006/relationships/slideLayout" Target="../slideLayouts/slideLayout1.xml"/><Relationship Id="rId12" Type="http://schemas.openxmlformats.org/officeDocument/2006/relationships/diagramData" Target="../diagrams/data2.xml"/><Relationship Id="rId2" Type="http://schemas.openxmlformats.org/officeDocument/2006/relationships/tags" Target="../tags/tag7.xml"/><Relationship Id="rId16" Type="http://schemas.microsoft.com/office/2007/relationships/diagramDrawing" Target="../diagrams/drawing2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image" Target="../media/image2.png"/><Relationship Id="rId5" Type="http://schemas.openxmlformats.org/officeDocument/2006/relationships/tags" Target="../tags/tag10.xml"/><Relationship Id="rId15" Type="http://schemas.openxmlformats.org/officeDocument/2006/relationships/diagramColors" Target="../diagrams/colors2.xml"/><Relationship Id="rId10" Type="http://schemas.microsoft.com/office/2007/relationships/hdphoto" Target="../media/hdphoto1.wdp"/><Relationship Id="rId4" Type="http://schemas.openxmlformats.org/officeDocument/2006/relationships/tags" Target="../tags/tag9.xml"/><Relationship Id="rId9" Type="http://schemas.openxmlformats.org/officeDocument/2006/relationships/image" Target="../media/image1.png"/><Relationship Id="rId14" Type="http://schemas.openxmlformats.org/officeDocument/2006/relationships/diagramQuickStyle" Target="../diagrams/quickStyle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.xml"/><Relationship Id="rId13" Type="http://schemas.openxmlformats.org/officeDocument/2006/relationships/diagramData" Target="../diagrams/data3.xml"/><Relationship Id="rId3" Type="http://schemas.openxmlformats.org/officeDocument/2006/relationships/tags" Target="../tags/tag14.xml"/><Relationship Id="rId7" Type="http://schemas.openxmlformats.org/officeDocument/2006/relationships/tags" Target="../tags/tag18.xml"/><Relationship Id="rId12" Type="http://schemas.openxmlformats.org/officeDocument/2006/relationships/image" Target="../media/image2.png"/><Relationship Id="rId17" Type="http://schemas.microsoft.com/office/2007/relationships/diagramDrawing" Target="../diagrams/drawing3.xml"/><Relationship Id="rId2" Type="http://schemas.openxmlformats.org/officeDocument/2006/relationships/tags" Target="../tags/tag13.xml"/><Relationship Id="rId16" Type="http://schemas.openxmlformats.org/officeDocument/2006/relationships/diagramColors" Target="../diagrams/colors3.xml"/><Relationship Id="rId1" Type="http://schemas.openxmlformats.org/officeDocument/2006/relationships/tags" Target="../tags/tag12.xml"/><Relationship Id="rId6" Type="http://schemas.openxmlformats.org/officeDocument/2006/relationships/tags" Target="../tags/tag17.xml"/><Relationship Id="rId11" Type="http://schemas.microsoft.com/office/2007/relationships/hdphoto" Target="../media/hdphoto1.wdp"/><Relationship Id="rId5" Type="http://schemas.openxmlformats.org/officeDocument/2006/relationships/tags" Target="../tags/tag16.xml"/><Relationship Id="rId15" Type="http://schemas.openxmlformats.org/officeDocument/2006/relationships/diagramQuickStyle" Target="../diagrams/quickStyle3.xml"/><Relationship Id="rId10" Type="http://schemas.openxmlformats.org/officeDocument/2006/relationships/image" Target="../media/image1.png"/><Relationship Id="rId4" Type="http://schemas.openxmlformats.org/officeDocument/2006/relationships/tags" Target="../tags/tag15.xml"/><Relationship Id="rId9" Type="http://schemas.openxmlformats.org/officeDocument/2006/relationships/notesSlide" Target="../notesSlides/notesSlide3.xml"/><Relationship Id="rId14" Type="http://schemas.openxmlformats.org/officeDocument/2006/relationships/diagramLayout" Target="../diagrams/layout3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microsoft.com/office/2007/relationships/hdphoto" Target="../media/hdphoto1.wdp"/><Relationship Id="rId18" Type="http://schemas.openxmlformats.org/officeDocument/2006/relationships/diagramColors" Target="../diagrams/colors4.xml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image" Target="../media/image1.png"/><Relationship Id="rId17" Type="http://schemas.openxmlformats.org/officeDocument/2006/relationships/diagramQuickStyle" Target="../diagrams/quickStyle4.xml"/><Relationship Id="rId2" Type="http://schemas.openxmlformats.org/officeDocument/2006/relationships/tags" Target="../tags/tag20.xml"/><Relationship Id="rId16" Type="http://schemas.openxmlformats.org/officeDocument/2006/relationships/diagramLayout" Target="../diagrams/layout4.xml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notesSlide" Target="../notesSlides/notesSlide4.xml"/><Relationship Id="rId5" Type="http://schemas.openxmlformats.org/officeDocument/2006/relationships/tags" Target="../tags/tag23.xml"/><Relationship Id="rId15" Type="http://schemas.openxmlformats.org/officeDocument/2006/relationships/diagramData" Target="../diagrams/data4.xml"/><Relationship Id="rId10" Type="http://schemas.openxmlformats.org/officeDocument/2006/relationships/slideLayout" Target="../slideLayouts/slideLayout1.xml"/><Relationship Id="rId19" Type="http://schemas.microsoft.com/office/2007/relationships/diagramDrawing" Target="../diagrams/drawing4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image" Target="../media/image2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1.png"/><Relationship Id="rId7" Type="http://schemas.openxmlformats.org/officeDocument/2006/relationships/image" Target="../media/image12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10" Type="http://schemas.openxmlformats.org/officeDocument/2006/relationships/image" Target="../media/image8.png"/><Relationship Id="rId4" Type="http://schemas.microsoft.com/office/2007/relationships/hdphoto" Target="../media/hdphoto1.wdp"/><Relationship Id="rId9" Type="http://schemas.openxmlformats.org/officeDocument/2006/relationships/image" Target="../media/image14.sv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5.png"/><Relationship Id="rId5" Type="http://schemas.openxmlformats.org/officeDocument/2006/relationships/image" Target="../media/image2.png"/><Relationship Id="rId4" Type="http://schemas.microsoft.com/office/2007/relationships/hdphoto" Target="../media/hdphoto1.wdp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0.png"/><Relationship Id="rId5" Type="http://schemas.openxmlformats.org/officeDocument/2006/relationships/image" Target="../media/image2.png"/><Relationship Id="rId4" Type="http://schemas.microsoft.com/office/2007/relationships/hdphoto" Target="../media/hdphoto1.wdp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image" Target="../media/image1.png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.png"/><Relationship Id="rId11" Type="http://schemas.openxmlformats.org/officeDocument/2006/relationships/image" Target="../media/image22.jpeg"/><Relationship Id="rId5" Type="http://schemas.openxmlformats.org/officeDocument/2006/relationships/image" Target="../media/image2.png"/><Relationship Id="rId10" Type="http://schemas.openxmlformats.org/officeDocument/2006/relationships/image" Target="../media/image21.svg"/><Relationship Id="rId4" Type="http://schemas.microsoft.com/office/2007/relationships/hdphoto" Target="../media/hdphoto1.wdp"/><Relationship Id="rId9" Type="http://schemas.openxmlformats.org/officeDocument/2006/relationships/image" Target="../media/image20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1.png"/><Relationship Id="rId7" Type="http://schemas.openxmlformats.org/officeDocument/2006/relationships/image" Target="../media/image2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.png"/><Relationship Id="rId5" Type="http://schemas.openxmlformats.org/officeDocument/2006/relationships/image" Target="../media/image2.png"/><Relationship Id="rId4" Type="http://schemas.microsoft.com/office/2007/relationships/hdphoto" Target="../media/hdphoto1.wdp"/><Relationship Id="rId9" Type="http://schemas.openxmlformats.org/officeDocument/2006/relationships/image" Target="../media/image25.sv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30.png"/><Relationship Id="rId3" Type="http://schemas.openxmlformats.org/officeDocument/2006/relationships/image" Target="../media/image1.png"/><Relationship Id="rId7" Type="http://schemas.openxmlformats.org/officeDocument/2006/relationships/image" Target="../media/image9.png"/><Relationship Id="rId12" Type="http://schemas.openxmlformats.org/officeDocument/2006/relationships/image" Target="../media/image2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0.png"/><Relationship Id="rId11" Type="http://schemas.openxmlformats.org/officeDocument/2006/relationships/image" Target="../media/image28.png"/><Relationship Id="rId5" Type="http://schemas.openxmlformats.org/officeDocument/2006/relationships/image" Target="../media/image2.png"/><Relationship Id="rId10" Type="http://schemas.openxmlformats.org/officeDocument/2006/relationships/image" Target="../media/image27.png"/><Relationship Id="rId4" Type="http://schemas.microsoft.com/office/2007/relationships/hdphoto" Target="../media/hdphoto1.wdp"/><Relationship Id="rId9" Type="http://schemas.openxmlformats.org/officeDocument/2006/relationships/image" Target="../media/image26.png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svg"/><Relationship Id="rId3" Type="http://schemas.openxmlformats.org/officeDocument/2006/relationships/image" Target="../media/image1.png"/><Relationship Id="rId7" Type="http://schemas.openxmlformats.org/officeDocument/2006/relationships/image" Target="../media/image3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1.png"/><Relationship Id="rId5" Type="http://schemas.openxmlformats.org/officeDocument/2006/relationships/image" Target="../media/image2.png"/><Relationship Id="rId4" Type="http://schemas.microsoft.com/office/2007/relationships/hdphoto" Target="../media/hdphoto1.wdp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4.png"/><Relationship Id="rId5" Type="http://schemas.openxmlformats.org/officeDocument/2006/relationships/image" Target="../media/image2.png"/><Relationship Id="rId4" Type="http://schemas.microsoft.com/office/2007/relationships/hdphoto" Target="../media/hdphoto1.wdp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7" Type="http://schemas.openxmlformats.org/officeDocument/2006/relationships/image" Target="../media/image3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5.png"/><Relationship Id="rId5" Type="http://schemas.openxmlformats.org/officeDocument/2006/relationships/image" Target="../media/image2.png"/><Relationship Id="rId4" Type="http://schemas.microsoft.com/office/2007/relationships/hdphoto" Target="../media/hdphoto1.wdp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7.png"/><Relationship Id="rId5" Type="http://schemas.openxmlformats.org/officeDocument/2006/relationships/image" Target="../media/image2.png"/><Relationship Id="rId4" Type="http://schemas.microsoft.com/office/2007/relationships/hdphoto" Target="../media/hdphoto1.wdp"/></Relationships>
</file>

<file path=ppt/slides/_rels/slide2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8.png"/><Relationship Id="rId5" Type="http://schemas.openxmlformats.org/officeDocument/2006/relationships/image" Target="../media/image2.png"/><Relationship Id="rId4" Type="http://schemas.microsoft.com/office/2007/relationships/hdphoto" Target="../media/hdphoto1.wdp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13" Type="http://schemas.openxmlformats.org/officeDocument/2006/relationships/diagramQuickStyle" Target="../diagrams/quickStyle5.xml"/><Relationship Id="rId3" Type="http://schemas.openxmlformats.org/officeDocument/2006/relationships/tags" Target="../tags/tag30.xml"/><Relationship Id="rId7" Type="http://schemas.openxmlformats.org/officeDocument/2006/relationships/notesSlide" Target="../notesSlides/notesSlide16.xml"/><Relationship Id="rId12" Type="http://schemas.openxmlformats.org/officeDocument/2006/relationships/diagramLayout" Target="../diagrams/layout5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slideLayout" Target="../slideLayouts/slideLayout1.xml"/><Relationship Id="rId11" Type="http://schemas.openxmlformats.org/officeDocument/2006/relationships/diagramData" Target="../diagrams/data5.xml"/><Relationship Id="rId5" Type="http://schemas.openxmlformats.org/officeDocument/2006/relationships/tags" Target="../tags/tag32.xml"/><Relationship Id="rId15" Type="http://schemas.microsoft.com/office/2007/relationships/diagramDrawing" Target="../diagrams/drawing5.xml"/><Relationship Id="rId10" Type="http://schemas.openxmlformats.org/officeDocument/2006/relationships/image" Target="../media/image2.png"/><Relationship Id="rId4" Type="http://schemas.openxmlformats.org/officeDocument/2006/relationships/tags" Target="../tags/tag31.xml"/><Relationship Id="rId9" Type="http://schemas.microsoft.com/office/2007/relationships/hdphoto" Target="../media/hdphoto1.wdp"/><Relationship Id="rId14" Type="http://schemas.openxmlformats.org/officeDocument/2006/relationships/diagramColors" Target="../diagrams/colors5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1.pn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.png"/><Relationship Id="rId5" Type="http://schemas.openxmlformats.org/officeDocument/2006/relationships/image" Target="../media/image2.png"/><Relationship Id="rId4" Type="http://schemas.microsoft.com/office/2007/relationships/hdphoto" Target="../media/hdphoto1.wdp"/><Relationship Id="rId9" Type="http://schemas.openxmlformats.org/officeDocument/2006/relationships/image" Target="../media/image11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1.pn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.png"/><Relationship Id="rId11" Type="http://schemas.openxmlformats.org/officeDocument/2006/relationships/image" Target="../media/image40.svg"/><Relationship Id="rId5" Type="http://schemas.openxmlformats.org/officeDocument/2006/relationships/image" Target="../media/image2.png"/><Relationship Id="rId10" Type="http://schemas.openxmlformats.org/officeDocument/2006/relationships/image" Target="../media/image39.png"/><Relationship Id="rId4" Type="http://schemas.microsoft.com/office/2007/relationships/hdphoto" Target="../media/hdphoto1.wdp"/><Relationship Id="rId9" Type="http://schemas.openxmlformats.org/officeDocument/2006/relationships/image" Target="../media/image11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44.png"/><Relationship Id="rId3" Type="http://schemas.openxmlformats.org/officeDocument/2006/relationships/image" Target="../media/image1.png"/><Relationship Id="rId7" Type="http://schemas.openxmlformats.org/officeDocument/2006/relationships/image" Target="../media/image9.png"/><Relationship Id="rId12" Type="http://schemas.openxmlformats.org/officeDocument/2006/relationships/image" Target="../media/image43.svg"/><Relationship Id="rId17" Type="http://schemas.openxmlformats.org/officeDocument/2006/relationships/image" Target="../media/image46.svg"/><Relationship Id="rId2" Type="http://schemas.openxmlformats.org/officeDocument/2006/relationships/notesSlide" Target="../notesSlides/notesSlide19.xml"/><Relationship Id="rId16" Type="http://schemas.openxmlformats.org/officeDocument/2006/relationships/image" Target="../media/image4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.png"/><Relationship Id="rId11" Type="http://schemas.openxmlformats.org/officeDocument/2006/relationships/image" Target="../media/image42.png"/><Relationship Id="rId5" Type="http://schemas.openxmlformats.org/officeDocument/2006/relationships/image" Target="../media/image2.png"/><Relationship Id="rId15" Type="http://schemas.openxmlformats.org/officeDocument/2006/relationships/image" Target="../media/image40.svg"/><Relationship Id="rId10" Type="http://schemas.openxmlformats.org/officeDocument/2006/relationships/image" Target="../media/image41.png"/><Relationship Id="rId4" Type="http://schemas.microsoft.com/office/2007/relationships/hdphoto" Target="../media/hdphoto1.wdp"/><Relationship Id="rId9" Type="http://schemas.openxmlformats.org/officeDocument/2006/relationships/image" Target="../media/image11.png"/><Relationship Id="rId14" Type="http://schemas.openxmlformats.org/officeDocument/2006/relationships/image" Target="../media/image39.png"/></Relationships>
</file>

<file path=ppt/slides/_rels/slide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.png"/><Relationship Id="rId4" Type="http://schemas.microsoft.com/office/2007/relationships/hdphoto" Target="../media/hdphoto1.wdp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.png"/><Relationship Id="rId4" Type="http://schemas.microsoft.com/office/2007/relationships/hdphoto" Target="../media/hdphoto1.wdp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github.com/JeremyL71/GIT-TEXT-MINING" TargetMode="External"/><Relationship Id="rId5" Type="http://schemas.openxmlformats.org/officeDocument/2006/relationships/image" Target="../media/image2.png"/><Relationship Id="rId4" Type="http://schemas.microsoft.com/office/2007/relationships/hdphoto" Target="../media/hdphoto1.wdp"/></Relationships>
</file>

<file path=ppt/slides/_rels/slide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2.png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2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microsoft.com/office/2007/relationships/hdphoto" Target="../media/hdphoto1.wdp"/><Relationship Id="rId7" Type="http://schemas.openxmlformats.org/officeDocument/2006/relationships/image" Target="../media/image10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2.png"/></Relationships>
</file>

<file path=ppt/slides/_rels/slide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FEF3C7EC-9C2C-470E-B566-17E72DF0992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8" descr="Image associÃ©e">
            <a:extLst>
              <a:ext uri="{FF2B5EF4-FFF2-40B4-BE49-F238E27FC236}">
                <a16:creationId xmlns:a16="http://schemas.microsoft.com/office/drawing/2014/main" id="{6164326C-B148-4168-AB5D-83F724135A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66542" y="6040073"/>
            <a:ext cx="2125458" cy="8179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4D6AB009-DBE3-4A82-9248-F28B8336119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0523" y="698292"/>
            <a:ext cx="1927624" cy="1927624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554E4829-033B-4586-B296-1F258F0A5B9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8147" y="1442230"/>
            <a:ext cx="2301955" cy="2301955"/>
          </a:xfrm>
          <a:prstGeom prst="rect">
            <a:avLst/>
          </a:prstGeom>
        </p:spPr>
      </p:pic>
      <p:sp>
        <p:nvSpPr>
          <p:cNvPr id="11" name="Titre 1">
            <a:extLst>
              <a:ext uri="{FF2B5EF4-FFF2-40B4-BE49-F238E27FC236}">
                <a16:creationId xmlns:a16="http://schemas.microsoft.com/office/drawing/2014/main" id="{6714FF87-3967-478D-A140-3DB73F67E38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7342" y="698291"/>
            <a:ext cx="6416405" cy="3207371"/>
          </a:xfrm>
        </p:spPr>
        <p:txBody>
          <a:bodyPr>
            <a:normAutofit/>
          </a:bodyPr>
          <a:lstStyle/>
          <a:p>
            <a:pPr algn="l"/>
            <a:r>
              <a:rPr lang="fr-FR" b="1" dirty="0">
                <a:solidFill>
                  <a:schemeClr val="bg1"/>
                </a:solidFill>
              </a:rPr>
              <a:t>Projet de création d’applications de  </a:t>
            </a:r>
            <a:br>
              <a:rPr lang="fr-FR" b="1" dirty="0">
                <a:solidFill>
                  <a:schemeClr val="bg1"/>
                </a:solidFill>
              </a:rPr>
            </a:br>
            <a:r>
              <a:rPr lang="fr-FR" b="1" dirty="0">
                <a:solidFill>
                  <a:schemeClr val="bg1"/>
                </a:solidFill>
              </a:rPr>
              <a:t>Text-mining</a:t>
            </a:r>
            <a:endParaRPr lang="fr-FR" sz="15300" dirty="0">
              <a:solidFill>
                <a:schemeClr val="bg1"/>
              </a:solidFill>
            </a:endParaRPr>
          </a:p>
        </p:txBody>
      </p:sp>
      <p:sp>
        <p:nvSpPr>
          <p:cNvPr id="12" name="Sous-titre 2">
            <a:extLst>
              <a:ext uri="{FF2B5EF4-FFF2-40B4-BE49-F238E27FC236}">
                <a16:creationId xmlns:a16="http://schemas.microsoft.com/office/drawing/2014/main" id="{C6F3F366-618E-4744-B950-18425A8F5E6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80112" y="4036172"/>
            <a:ext cx="10721835" cy="1711914"/>
          </a:xfrm>
        </p:spPr>
        <p:txBody>
          <a:bodyPr>
            <a:normAutofit fontScale="70000" lnSpcReduction="20000"/>
          </a:bodyPr>
          <a:lstStyle/>
          <a:p>
            <a:pPr algn="l"/>
            <a:r>
              <a:rPr lang="fr-FR" b="1" dirty="0">
                <a:solidFill>
                  <a:schemeClr val="bg1"/>
                </a:solidFill>
                <a:latin typeface="+mn-lt"/>
              </a:rPr>
              <a:t>Elèves: </a:t>
            </a:r>
            <a:r>
              <a:rPr lang="fr-FR" dirty="0">
                <a:solidFill>
                  <a:schemeClr val="bg1"/>
                </a:solidFill>
              </a:rPr>
              <a:t>Jérémy Laurent</a:t>
            </a:r>
            <a:br>
              <a:rPr lang="fr-FR" dirty="0">
                <a:solidFill>
                  <a:schemeClr val="bg1"/>
                </a:solidFill>
                <a:latin typeface="+mn-lt"/>
              </a:rPr>
            </a:br>
            <a:r>
              <a:rPr lang="fr-FR" dirty="0">
                <a:solidFill>
                  <a:schemeClr val="bg1"/>
                </a:solidFill>
                <a:latin typeface="+mn-lt"/>
              </a:rPr>
              <a:t>              Gérome Ferrand</a:t>
            </a:r>
            <a:br>
              <a:rPr lang="fr-FR" dirty="0">
                <a:solidFill>
                  <a:schemeClr val="bg1"/>
                </a:solidFill>
                <a:latin typeface="+mn-lt"/>
              </a:rPr>
            </a:br>
            <a:r>
              <a:rPr lang="fr-FR" dirty="0">
                <a:solidFill>
                  <a:schemeClr val="bg1"/>
                </a:solidFill>
                <a:latin typeface="+mn-lt"/>
              </a:rPr>
              <a:t>              Juliette Vaton</a:t>
            </a:r>
            <a:br>
              <a:rPr lang="fr-FR" dirty="0">
                <a:solidFill>
                  <a:schemeClr val="bg1"/>
                </a:solidFill>
                <a:latin typeface="+mn-lt"/>
              </a:rPr>
            </a:br>
            <a:r>
              <a:rPr lang="fr-FR" dirty="0">
                <a:solidFill>
                  <a:schemeClr val="bg1"/>
                </a:solidFill>
                <a:latin typeface="+mn-lt"/>
              </a:rPr>
              <a:t>              Alexandre </a:t>
            </a:r>
            <a:r>
              <a:rPr lang="fr-FR" dirty="0">
                <a:solidFill>
                  <a:schemeClr val="bg1"/>
                </a:solidFill>
              </a:rPr>
              <a:t>D</a:t>
            </a:r>
            <a:r>
              <a:rPr lang="fr-FR" dirty="0">
                <a:solidFill>
                  <a:schemeClr val="bg1"/>
                </a:solidFill>
                <a:latin typeface="+mn-lt"/>
              </a:rPr>
              <a:t>ufour</a:t>
            </a:r>
            <a:br>
              <a:rPr lang="fr-FR" dirty="0">
                <a:solidFill>
                  <a:schemeClr val="bg1"/>
                </a:solidFill>
                <a:latin typeface="+mn-lt"/>
              </a:rPr>
            </a:br>
            <a:r>
              <a:rPr lang="fr-FR" dirty="0">
                <a:solidFill>
                  <a:schemeClr val="bg1"/>
                </a:solidFill>
                <a:latin typeface="+mn-lt"/>
              </a:rPr>
              <a:t>              Nathan Moussu</a:t>
            </a:r>
            <a:br>
              <a:rPr lang="fr-FR" dirty="0">
                <a:solidFill>
                  <a:schemeClr val="bg1"/>
                </a:solidFill>
                <a:latin typeface="+mn-lt"/>
              </a:rPr>
            </a:br>
            <a:r>
              <a:rPr lang="fr-FR" dirty="0">
                <a:solidFill>
                  <a:schemeClr val="bg1"/>
                </a:solidFill>
                <a:latin typeface="+mn-lt"/>
              </a:rPr>
              <a:t>		</a:t>
            </a:r>
            <a:br>
              <a:rPr lang="fr-FR" dirty="0">
                <a:solidFill>
                  <a:schemeClr val="bg1"/>
                </a:solidFill>
                <a:latin typeface="+mn-lt"/>
              </a:rPr>
            </a:br>
            <a:r>
              <a:rPr lang="fr-FR" dirty="0">
                <a:solidFill>
                  <a:schemeClr val="bg1"/>
                </a:solidFill>
                <a:latin typeface="+mn-lt"/>
              </a:rPr>
              <a:t>                                                                </a:t>
            </a:r>
            <a:br>
              <a:rPr lang="fr-FR" dirty="0">
                <a:solidFill>
                  <a:schemeClr val="bg1"/>
                </a:solidFill>
                <a:latin typeface="+mn-lt"/>
              </a:rPr>
            </a:br>
            <a:r>
              <a:rPr lang="fr-FR" b="1" dirty="0">
                <a:solidFill>
                  <a:schemeClr val="bg1"/>
                </a:solidFill>
                <a:latin typeface="+mn-lt"/>
              </a:rPr>
              <a:t>Professeur encadreur:  </a:t>
            </a:r>
            <a:r>
              <a:rPr lang="fr-FR" dirty="0">
                <a:solidFill>
                  <a:schemeClr val="bg1"/>
                </a:solidFill>
                <a:latin typeface="+mn-lt"/>
              </a:rPr>
              <a:t>M. Vidal</a:t>
            </a:r>
          </a:p>
        </p:txBody>
      </p:sp>
      <p:cxnSp>
        <p:nvCxnSpPr>
          <p:cNvPr id="3" name="Connecteur droit 2">
            <a:extLst>
              <a:ext uri="{FF2B5EF4-FFF2-40B4-BE49-F238E27FC236}">
                <a16:creationId xmlns:a16="http://schemas.microsoft.com/office/drawing/2014/main" id="{BF2A195C-1BA0-4723-95EE-C2FB2CC3C719}"/>
              </a:ext>
            </a:extLst>
          </p:cNvPr>
          <p:cNvCxnSpPr/>
          <p:nvPr/>
        </p:nvCxnSpPr>
        <p:spPr>
          <a:xfrm>
            <a:off x="177342" y="3870697"/>
            <a:ext cx="872337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62120076"/>
      </p:ext>
    </p:extLst>
  </p:cSld>
  <p:clrMapOvr>
    <a:masterClrMapping/>
  </p:clrMapOvr>
  <p:transition spd="slow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C401337-C7CB-41A6-8CE0-3585D7CA23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-1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3CF5856C-2DCC-4224-858C-F72B9191D8C8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F265E1-D21D-4CB3-BB3B-268924D2495C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3F4D2D-2973-4ACC-B192-B9B9C062B26E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Démarche employée</a:t>
            </a:r>
            <a:endParaRPr lang="fr-FR" sz="4400" b="1" dirty="0">
              <a:solidFill>
                <a:schemeClr val="bg1"/>
              </a:solidFill>
            </a:endParaRPr>
          </a:p>
        </p:txBody>
      </p:sp>
      <p:pic>
        <p:nvPicPr>
          <p:cNvPr id="15" name="Picture 8" descr="Image associÃ©e">
            <a:extLst>
              <a:ext uri="{FF2B5EF4-FFF2-40B4-BE49-F238E27FC236}">
                <a16:creationId xmlns:a16="http://schemas.microsoft.com/office/drawing/2014/main" id="{D73B5BD8-0FA5-4DEF-9F26-E4C63F6FB2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1672" y="6161343"/>
            <a:ext cx="1810327" cy="69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2" name="Groupe 61">
            <a:extLst>
              <a:ext uri="{FF2B5EF4-FFF2-40B4-BE49-F238E27FC236}">
                <a16:creationId xmlns:a16="http://schemas.microsoft.com/office/drawing/2014/main" id="{8097E0D2-BD4C-48C5-91BB-31E40C0B7B3C}"/>
              </a:ext>
            </a:extLst>
          </p:cNvPr>
          <p:cNvGrpSpPr/>
          <p:nvPr/>
        </p:nvGrpSpPr>
        <p:grpSpPr>
          <a:xfrm>
            <a:off x="81856" y="6071877"/>
            <a:ext cx="731876" cy="696657"/>
            <a:chOff x="81856" y="6268713"/>
            <a:chExt cx="536895" cy="499821"/>
          </a:xfrm>
        </p:grpSpPr>
        <p:sp>
          <p:nvSpPr>
            <p:cNvPr id="63" name="Ellipse 62">
              <a:extLst>
                <a:ext uri="{FF2B5EF4-FFF2-40B4-BE49-F238E27FC236}">
                  <a16:creationId xmlns:a16="http://schemas.microsoft.com/office/drawing/2014/main" id="{E18270A2-A10F-4E6C-902A-932F26BCFD1F}"/>
                </a:ext>
              </a:extLst>
            </p:cNvPr>
            <p:cNvSpPr/>
            <p:nvPr/>
          </p:nvSpPr>
          <p:spPr>
            <a:xfrm>
              <a:off x="152777" y="6331654"/>
              <a:ext cx="395052" cy="371527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/>
                <a:t>4</a:t>
              </a:r>
              <a:endParaRPr lang="fr-FR" sz="700" dirty="0"/>
            </a:p>
          </p:txBody>
        </p:sp>
        <p:sp>
          <p:nvSpPr>
            <p:cNvPr id="64" name="Ellipse 63">
              <a:extLst>
                <a:ext uri="{FF2B5EF4-FFF2-40B4-BE49-F238E27FC236}">
                  <a16:creationId xmlns:a16="http://schemas.microsoft.com/office/drawing/2014/main" id="{F7E4F57A-D9F4-40F4-ADE4-14EB404B6D73}"/>
                </a:ext>
              </a:extLst>
            </p:cNvPr>
            <p:cNvSpPr/>
            <p:nvPr/>
          </p:nvSpPr>
          <p:spPr>
            <a:xfrm>
              <a:off x="81856" y="6268713"/>
              <a:ext cx="536895" cy="499821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41" name="Controller_High">
            <a:extLst>
              <a:ext uri="{FF2B5EF4-FFF2-40B4-BE49-F238E27FC236}">
                <a16:creationId xmlns:a16="http://schemas.microsoft.com/office/drawing/2014/main" id="{EA1AC99C-5092-48A1-81BA-ADE6DB86E4AD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520473" y="1468529"/>
            <a:ext cx="11613732" cy="1077007"/>
          </a:xfrm>
          <a:prstGeom prst="rect">
            <a:avLst/>
          </a:prstGeom>
          <a:noFill/>
          <a:ln w="6350" algn="ctr">
            <a:noFill/>
            <a:round/>
            <a:headEnd/>
            <a:tailEnd/>
          </a:ln>
        </p:spPr>
        <p:txBody>
          <a:bodyPr lIns="63108" tIns="63108" rIns="63108" bIns="63108"/>
          <a:lstStyle/>
          <a:p>
            <a:pPr algn="l" eaLnBrk="0" hangingPunct="0">
              <a:buClrTx/>
              <a:buSzTx/>
              <a:buFontTx/>
              <a:buNone/>
            </a:pPr>
            <a:r>
              <a:rPr lang="fr-FR" sz="1600" b="1" dirty="0">
                <a:solidFill>
                  <a:schemeClr val="bg1"/>
                </a:solidFill>
              </a:rPr>
              <a:t>Part du temps dans le projet: 45%</a:t>
            </a:r>
          </a:p>
        </p:txBody>
      </p:sp>
      <p:graphicFrame>
        <p:nvGraphicFramePr>
          <p:cNvPr id="42" name="Value Chain with Textboxes">
            <a:extLst>
              <a:ext uri="{FF2B5EF4-FFF2-40B4-BE49-F238E27FC236}">
                <a16:creationId xmlns:a16="http://schemas.microsoft.com/office/drawing/2014/main" id="{18303776-9954-4975-B028-1D81ED8B0013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38468627"/>
              </p:ext>
            </p:extLst>
          </p:nvPr>
        </p:nvGraphicFramePr>
        <p:xfrm>
          <a:off x="600440" y="2596905"/>
          <a:ext cx="10944225" cy="344047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1" r:lo="rId12" r:qs="rId13" r:cs="rId14"/>
          </a:graphicData>
        </a:graphic>
      </p:graphicFrame>
      <p:sp>
        <p:nvSpPr>
          <p:cNvPr id="43" name="Title">
            <a:extLst>
              <a:ext uri="{FF2B5EF4-FFF2-40B4-BE49-F238E27FC236}">
                <a16:creationId xmlns:a16="http://schemas.microsoft.com/office/drawing/2014/main" id="{F4C68D64-D5C5-4B39-A825-DE34839E8DF0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600440" y="2232849"/>
            <a:ext cx="2566830" cy="364056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ts val="24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ctr"/>
            <a:r>
              <a:rPr lang="fr-FR" sz="1600" dirty="0">
                <a:solidFill>
                  <a:schemeClr val="bg1"/>
                </a:solidFill>
              </a:rPr>
              <a:t>Septembre - Octobre</a:t>
            </a:r>
          </a:p>
        </p:txBody>
      </p:sp>
      <p:sp>
        <p:nvSpPr>
          <p:cNvPr id="59" name="Controller_High">
            <a:extLst>
              <a:ext uri="{FF2B5EF4-FFF2-40B4-BE49-F238E27FC236}">
                <a16:creationId xmlns:a16="http://schemas.microsoft.com/office/drawing/2014/main" id="{25458574-B1D8-436B-AE01-30D82175C2C3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600445" y="1858863"/>
            <a:ext cx="10833260" cy="19581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6350" algn="ctr">
            <a:noFill/>
            <a:miter lim="800000"/>
            <a:headEnd/>
            <a:tailEnd/>
          </a:ln>
        </p:spPr>
        <p:txBody>
          <a:bodyPr lIns="63108" tIns="63108" rIns="63108" bIns="63108" anchor="ctr"/>
          <a:lstStyle/>
          <a:p>
            <a:endParaRPr lang="fr-FR" dirty="0"/>
          </a:p>
        </p:txBody>
      </p:sp>
      <p:sp>
        <p:nvSpPr>
          <p:cNvPr id="60" name="Controller_High">
            <a:extLst>
              <a:ext uri="{FF2B5EF4-FFF2-40B4-BE49-F238E27FC236}">
                <a16:creationId xmlns:a16="http://schemas.microsoft.com/office/drawing/2014/main" id="{46DA310C-6053-48D1-99C6-124E4AE9FDE5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 rot="16200000">
            <a:off x="2569523" y="-107186"/>
            <a:ext cx="192784" cy="4130951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00B050"/>
          </a:solidFill>
          <a:ln w="6350" algn="ctr">
            <a:noFill/>
            <a:miter lim="800000"/>
            <a:headEnd/>
            <a:tailEnd/>
          </a:ln>
        </p:spPr>
        <p:txBody>
          <a:bodyPr lIns="63108" tIns="63108" rIns="63108" bIns="63108" anchor="ctr"/>
          <a:lstStyle/>
          <a:p>
            <a:endParaRPr lang="fr-FR" dirty="0">
              <a:solidFill>
                <a:srgbClr val="92D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4902018"/>
      </p:ext>
    </p:extLst>
  </p:cSld>
  <p:clrMapOvr>
    <a:masterClrMapping/>
  </p:clrMapOvr>
  <p:transition spd="slow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C401337-C7CB-41A6-8CE0-3585D7CA23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-1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3CF5856C-2DCC-4224-858C-F72B9191D8C8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F265E1-D21D-4CB3-BB3B-268924D2495C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3F4D2D-2973-4ACC-B192-B9B9C062B26E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Démarche employée</a:t>
            </a:r>
            <a:endParaRPr lang="fr-FR" sz="4400" b="1" dirty="0">
              <a:solidFill>
                <a:schemeClr val="bg1"/>
              </a:solidFill>
            </a:endParaRPr>
          </a:p>
        </p:txBody>
      </p:sp>
      <p:pic>
        <p:nvPicPr>
          <p:cNvPr id="15" name="Picture 8" descr="Image associÃ©e">
            <a:extLst>
              <a:ext uri="{FF2B5EF4-FFF2-40B4-BE49-F238E27FC236}">
                <a16:creationId xmlns:a16="http://schemas.microsoft.com/office/drawing/2014/main" id="{D73B5BD8-0FA5-4DEF-9F26-E4C63F6FB2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1672" y="6161343"/>
            <a:ext cx="1810327" cy="69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2" name="Groupe 61">
            <a:extLst>
              <a:ext uri="{FF2B5EF4-FFF2-40B4-BE49-F238E27FC236}">
                <a16:creationId xmlns:a16="http://schemas.microsoft.com/office/drawing/2014/main" id="{8097E0D2-BD4C-48C5-91BB-31E40C0B7B3C}"/>
              </a:ext>
            </a:extLst>
          </p:cNvPr>
          <p:cNvGrpSpPr/>
          <p:nvPr/>
        </p:nvGrpSpPr>
        <p:grpSpPr>
          <a:xfrm>
            <a:off x="81856" y="6071877"/>
            <a:ext cx="731876" cy="696657"/>
            <a:chOff x="81856" y="6268713"/>
            <a:chExt cx="536895" cy="499821"/>
          </a:xfrm>
        </p:grpSpPr>
        <p:sp>
          <p:nvSpPr>
            <p:cNvPr id="63" name="Ellipse 62">
              <a:extLst>
                <a:ext uri="{FF2B5EF4-FFF2-40B4-BE49-F238E27FC236}">
                  <a16:creationId xmlns:a16="http://schemas.microsoft.com/office/drawing/2014/main" id="{E18270A2-A10F-4E6C-902A-932F26BCFD1F}"/>
                </a:ext>
              </a:extLst>
            </p:cNvPr>
            <p:cNvSpPr/>
            <p:nvPr/>
          </p:nvSpPr>
          <p:spPr>
            <a:xfrm>
              <a:off x="152777" y="6331654"/>
              <a:ext cx="395052" cy="371527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/>
                <a:t>4</a:t>
              </a:r>
              <a:endParaRPr lang="fr-FR" sz="700" dirty="0"/>
            </a:p>
          </p:txBody>
        </p:sp>
        <p:sp>
          <p:nvSpPr>
            <p:cNvPr id="64" name="Ellipse 63">
              <a:extLst>
                <a:ext uri="{FF2B5EF4-FFF2-40B4-BE49-F238E27FC236}">
                  <a16:creationId xmlns:a16="http://schemas.microsoft.com/office/drawing/2014/main" id="{F7E4F57A-D9F4-40F4-ADE4-14EB404B6D73}"/>
                </a:ext>
              </a:extLst>
            </p:cNvPr>
            <p:cNvSpPr/>
            <p:nvPr/>
          </p:nvSpPr>
          <p:spPr>
            <a:xfrm>
              <a:off x="81856" y="6268713"/>
              <a:ext cx="536895" cy="499821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41" name="Controller_High">
            <a:extLst>
              <a:ext uri="{FF2B5EF4-FFF2-40B4-BE49-F238E27FC236}">
                <a16:creationId xmlns:a16="http://schemas.microsoft.com/office/drawing/2014/main" id="{EA1AC99C-5092-48A1-81BA-ADE6DB86E4AD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520473" y="1468529"/>
            <a:ext cx="11613732" cy="1077007"/>
          </a:xfrm>
          <a:prstGeom prst="rect">
            <a:avLst/>
          </a:prstGeom>
          <a:noFill/>
          <a:ln w="6350" algn="ctr">
            <a:noFill/>
            <a:round/>
            <a:headEnd/>
            <a:tailEnd/>
          </a:ln>
        </p:spPr>
        <p:txBody>
          <a:bodyPr lIns="63108" tIns="63108" rIns="63108" bIns="63108"/>
          <a:lstStyle/>
          <a:p>
            <a:pPr eaLnBrk="0" hangingPunct="0"/>
            <a:r>
              <a:rPr lang="fr-FR" sz="1600" b="1" dirty="0">
                <a:solidFill>
                  <a:schemeClr val="bg1"/>
                </a:solidFill>
              </a:rPr>
              <a:t>Part du temps dans le projet: 65%</a:t>
            </a:r>
          </a:p>
        </p:txBody>
      </p:sp>
      <p:graphicFrame>
        <p:nvGraphicFramePr>
          <p:cNvPr id="42" name="Value Chain with Textboxes">
            <a:extLst>
              <a:ext uri="{FF2B5EF4-FFF2-40B4-BE49-F238E27FC236}">
                <a16:creationId xmlns:a16="http://schemas.microsoft.com/office/drawing/2014/main" id="{18303776-9954-4975-B028-1D81ED8B0013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2356008"/>
              </p:ext>
            </p:extLst>
          </p:nvPr>
        </p:nvGraphicFramePr>
        <p:xfrm>
          <a:off x="600440" y="2596905"/>
          <a:ext cx="10944225" cy="344047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sp>
        <p:nvSpPr>
          <p:cNvPr id="43" name="Title">
            <a:extLst>
              <a:ext uri="{FF2B5EF4-FFF2-40B4-BE49-F238E27FC236}">
                <a16:creationId xmlns:a16="http://schemas.microsoft.com/office/drawing/2014/main" id="{F4C68D64-D5C5-4B39-A825-DE34839E8DF0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600440" y="2232849"/>
            <a:ext cx="2566830" cy="364056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ts val="24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ctr"/>
            <a:r>
              <a:rPr lang="fr-FR" sz="1600" dirty="0">
                <a:solidFill>
                  <a:schemeClr val="bg1"/>
                </a:solidFill>
              </a:rPr>
              <a:t>Septembre - Octobre</a:t>
            </a:r>
          </a:p>
        </p:txBody>
      </p:sp>
      <p:sp>
        <p:nvSpPr>
          <p:cNvPr id="59" name="Controller_High">
            <a:extLst>
              <a:ext uri="{FF2B5EF4-FFF2-40B4-BE49-F238E27FC236}">
                <a16:creationId xmlns:a16="http://schemas.microsoft.com/office/drawing/2014/main" id="{25458574-B1D8-436B-AE01-30D82175C2C3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600445" y="1858863"/>
            <a:ext cx="10833260" cy="19581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6350" algn="ctr">
            <a:noFill/>
            <a:miter lim="800000"/>
            <a:headEnd/>
            <a:tailEnd/>
          </a:ln>
        </p:spPr>
        <p:txBody>
          <a:bodyPr lIns="63108" tIns="63108" rIns="63108" bIns="63108" anchor="ctr"/>
          <a:lstStyle/>
          <a:p>
            <a:endParaRPr lang="fr-FR" dirty="0"/>
          </a:p>
        </p:txBody>
      </p:sp>
      <p:sp>
        <p:nvSpPr>
          <p:cNvPr id="60" name="Controller_High">
            <a:extLst>
              <a:ext uri="{FF2B5EF4-FFF2-40B4-BE49-F238E27FC236}">
                <a16:creationId xmlns:a16="http://schemas.microsoft.com/office/drawing/2014/main" id="{46DA310C-6053-48D1-99C6-124E4AE9FDE5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 rot="16200000">
            <a:off x="3601615" y="-1155565"/>
            <a:ext cx="195818" cy="6224674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00B050"/>
          </a:solidFill>
          <a:ln w="6350" algn="ctr">
            <a:noFill/>
            <a:miter lim="800000"/>
            <a:headEnd/>
            <a:tailEnd/>
          </a:ln>
        </p:spPr>
        <p:txBody>
          <a:bodyPr lIns="63108" tIns="63108" rIns="63108" bIns="63108" anchor="ctr"/>
          <a:lstStyle/>
          <a:p>
            <a:endParaRPr lang="fr-FR" dirty="0">
              <a:solidFill>
                <a:srgbClr val="92D050"/>
              </a:solidFill>
            </a:endParaRPr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5BEC2CBA-2BBD-4131-A1E8-B291ACD5D3F9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3450245" y="2230111"/>
            <a:ext cx="2566830" cy="364056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ts val="24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ctr"/>
            <a:r>
              <a:rPr lang="fr-FR" sz="1600" dirty="0">
                <a:solidFill>
                  <a:schemeClr val="bg1"/>
                </a:solidFill>
              </a:rPr>
              <a:t>Novembre - Décembre</a:t>
            </a:r>
          </a:p>
        </p:txBody>
      </p:sp>
    </p:spTree>
    <p:extLst>
      <p:ext uri="{BB962C8B-B14F-4D97-AF65-F5344CB8AC3E}">
        <p14:creationId xmlns:p14="http://schemas.microsoft.com/office/powerpoint/2010/main" val="376110495"/>
      </p:ext>
    </p:extLst>
  </p:cSld>
  <p:clrMapOvr>
    <a:masterClrMapping/>
  </p:clrMapOvr>
  <p:transition spd="slow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C401337-C7CB-41A6-8CE0-3585D7CA23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-1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3CF5856C-2DCC-4224-858C-F72B9191D8C8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F265E1-D21D-4CB3-BB3B-268924D2495C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3F4D2D-2973-4ACC-B192-B9B9C062B26E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Démarche employée</a:t>
            </a:r>
            <a:endParaRPr lang="fr-FR" sz="4400" b="1" dirty="0">
              <a:solidFill>
                <a:schemeClr val="bg1"/>
              </a:solidFill>
            </a:endParaRPr>
          </a:p>
        </p:txBody>
      </p:sp>
      <p:pic>
        <p:nvPicPr>
          <p:cNvPr id="15" name="Picture 8" descr="Image associÃ©e">
            <a:extLst>
              <a:ext uri="{FF2B5EF4-FFF2-40B4-BE49-F238E27FC236}">
                <a16:creationId xmlns:a16="http://schemas.microsoft.com/office/drawing/2014/main" id="{D73B5BD8-0FA5-4DEF-9F26-E4C63F6FB2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1672" y="6161343"/>
            <a:ext cx="1810327" cy="69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2" name="Groupe 61">
            <a:extLst>
              <a:ext uri="{FF2B5EF4-FFF2-40B4-BE49-F238E27FC236}">
                <a16:creationId xmlns:a16="http://schemas.microsoft.com/office/drawing/2014/main" id="{8097E0D2-BD4C-48C5-91BB-31E40C0B7B3C}"/>
              </a:ext>
            </a:extLst>
          </p:cNvPr>
          <p:cNvGrpSpPr/>
          <p:nvPr/>
        </p:nvGrpSpPr>
        <p:grpSpPr>
          <a:xfrm>
            <a:off x="81856" y="6071877"/>
            <a:ext cx="731876" cy="696657"/>
            <a:chOff x="81856" y="6268713"/>
            <a:chExt cx="536895" cy="499821"/>
          </a:xfrm>
        </p:grpSpPr>
        <p:sp>
          <p:nvSpPr>
            <p:cNvPr id="63" name="Ellipse 62">
              <a:extLst>
                <a:ext uri="{FF2B5EF4-FFF2-40B4-BE49-F238E27FC236}">
                  <a16:creationId xmlns:a16="http://schemas.microsoft.com/office/drawing/2014/main" id="{E18270A2-A10F-4E6C-902A-932F26BCFD1F}"/>
                </a:ext>
              </a:extLst>
            </p:cNvPr>
            <p:cNvSpPr/>
            <p:nvPr/>
          </p:nvSpPr>
          <p:spPr>
            <a:xfrm>
              <a:off x="152777" y="6331654"/>
              <a:ext cx="395052" cy="371527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/>
                <a:t>4</a:t>
              </a:r>
              <a:endParaRPr lang="fr-FR" sz="700" dirty="0"/>
            </a:p>
          </p:txBody>
        </p:sp>
        <p:sp>
          <p:nvSpPr>
            <p:cNvPr id="64" name="Ellipse 63">
              <a:extLst>
                <a:ext uri="{FF2B5EF4-FFF2-40B4-BE49-F238E27FC236}">
                  <a16:creationId xmlns:a16="http://schemas.microsoft.com/office/drawing/2014/main" id="{F7E4F57A-D9F4-40F4-ADE4-14EB404B6D73}"/>
                </a:ext>
              </a:extLst>
            </p:cNvPr>
            <p:cNvSpPr/>
            <p:nvPr/>
          </p:nvSpPr>
          <p:spPr>
            <a:xfrm>
              <a:off x="81856" y="6268713"/>
              <a:ext cx="536895" cy="499821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41" name="Controller_High">
            <a:extLst>
              <a:ext uri="{FF2B5EF4-FFF2-40B4-BE49-F238E27FC236}">
                <a16:creationId xmlns:a16="http://schemas.microsoft.com/office/drawing/2014/main" id="{EA1AC99C-5092-48A1-81BA-ADE6DB86E4AD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520473" y="1468529"/>
            <a:ext cx="11613732" cy="1077007"/>
          </a:xfrm>
          <a:prstGeom prst="rect">
            <a:avLst/>
          </a:prstGeom>
          <a:noFill/>
          <a:ln w="6350" algn="ctr">
            <a:noFill/>
            <a:round/>
            <a:headEnd/>
            <a:tailEnd/>
          </a:ln>
        </p:spPr>
        <p:txBody>
          <a:bodyPr lIns="63108" tIns="63108" rIns="63108" bIns="63108"/>
          <a:lstStyle/>
          <a:p>
            <a:pPr eaLnBrk="0" hangingPunct="0"/>
            <a:r>
              <a:rPr lang="fr-FR" sz="1600" b="1" dirty="0">
                <a:solidFill>
                  <a:schemeClr val="bg1"/>
                </a:solidFill>
              </a:rPr>
              <a:t>Part du temps dans le projet: 90%</a:t>
            </a:r>
          </a:p>
        </p:txBody>
      </p:sp>
      <p:graphicFrame>
        <p:nvGraphicFramePr>
          <p:cNvPr id="42" name="Value Chain with Textboxes">
            <a:extLst>
              <a:ext uri="{FF2B5EF4-FFF2-40B4-BE49-F238E27FC236}">
                <a16:creationId xmlns:a16="http://schemas.microsoft.com/office/drawing/2014/main" id="{18303776-9954-4975-B028-1D81ED8B0013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8168087"/>
              </p:ext>
            </p:extLst>
          </p:nvPr>
        </p:nvGraphicFramePr>
        <p:xfrm>
          <a:off x="600440" y="2596905"/>
          <a:ext cx="10944225" cy="344047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sp>
        <p:nvSpPr>
          <p:cNvPr id="43" name="Title">
            <a:extLst>
              <a:ext uri="{FF2B5EF4-FFF2-40B4-BE49-F238E27FC236}">
                <a16:creationId xmlns:a16="http://schemas.microsoft.com/office/drawing/2014/main" id="{F4C68D64-D5C5-4B39-A825-DE34839E8DF0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600440" y="2232849"/>
            <a:ext cx="2566830" cy="364056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ts val="24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ctr"/>
            <a:r>
              <a:rPr lang="fr-FR" sz="1600" dirty="0">
                <a:solidFill>
                  <a:schemeClr val="bg1"/>
                </a:solidFill>
              </a:rPr>
              <a:t>Septembre - Octobre</a:t>
            </a:r>
          </a:p>
        </p:txBody>
      </p:sp>
      <p:sp>
        <p:nvSpPr>
          <p:cNvPr id="59" name="Controller_High">
            <a:extLst>
              <a:ext uri="{FF2B5EF4-FFF2-40B4-BE49-F238E27FC236}">
                <a16:creationId xmlns:a16="http://schemas.microsoft.com/office/drawing/2014/main" id="{25458574-B1D8-436B-AE01-30D82175C2C3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600445" y="1858863"/>
            <a:ext cx="10833260" cy="19581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6350" algn="ctr">
            <a:noFill/>
            <a:miter lim="800000"/>
            <a:headEnd/>
            <a:tailEnd/>
          </a:ln>
        </p:spPr>
        <p:txBody>
          <a:bodyPr lIns="63108" tIns="63108" rIns="63108" bIns="63108" anchor="ctr"/>
          <a:lstStyle/>
          <a:p>
            <a:endParaRPr lang="fr-FR" dirty="0"/>
          </a:p>
        </p:txBody>
      </p:sp>
      <p:sp>
        <p:nvSpPr>
          <p:cNvPr id="60" name="Controller_High">
            <a:extLst>
              <a:ext uri="{FF2B5EF4-FFF2-40B4-BE49-F238E27FC236}">
                <a16:creationId xmlns:a16="http://schemas.microsoft.com/office/drawing/2014/main" id="{46DA310C-6053-48D1-99C6-124E4AE9FDE5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 rot="16200000">
            <a:off x="5434609" y="-2988560"/>
            <a:ext cx="195819" cy="9890663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00B050"/>
          </a:solidFill>
          <a:ln w="6350" algn="ctr">
            <a:noFill/>
            <a:miter lim="800000"/>
            <a:headEnd/>
            <a:tailEnd/>
          </a:ln>
        </p:spPr>
        <p:txBody>
          <a:bodyPr lIns="63108" tIns="63108" rIns="63108" bIns="63108" anchor="ctr"/>
          <a:lstStyle/>
          <a:p>
            <a:endParaRPr lang="fr-FR" dirty="0">
              <a:solidFill>
                <a:srgbClr val="92D050"/>
              </a:solidFill>
            </a:endParaRPr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5BEC2CBA-2BBD-4131-A1E8-B291ACD5D3F9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3450245" y="2230111"/>
            <a:ext cx="2566830" cy="364056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ts val="24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ctr"/>
            <a:r>
              <a:rPr lang="fr-FR" sz="1600" dirty="0">
                <a:solidFill>
                  <a:schemeClr val="bg1"/>
                </a:solidFill>
              </a:rPr>
              <a:t>Novembre - Décembre</a:t>
            </a:r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5C3F196B-2EAE-41F8-9383-C409A31C1798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6095999" y="2230111"/>
            <a:ext cx="2566830" cy="364056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ts val="24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ctr"/>
            <a:r>
              <a:rPr lang="fr-FR" sz="1600" dirty="0">
                <a:solidFill>
                  <a:schemeClr val="bg1"/>
                </a:solidFill>
              </a:rPr>
              <a:t>Janvier - Avril</a:t>
            </a:r>
          </a:p>
        </p:txBody>
      </p:sp>
    </p:spTree>
    <p:extLst>
      <p:ext uri="{BB962C8B-B14F-4D97-AF65-F5344CB8AC3E}">
        <p14:creationId xmlns:p14="http://schemas.microsoft.com/office/powerpoint/2010/main" val="488992569"/>
      </p:ext>
    </p:extLst>
  </p:cSld>
  <p:clrMapOvr>
    <a:masterClrMapping/>
  </p:clrMapOvr>
  <p:transition spd="slow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C401337-C7CB-41A6-8CE0-3585D7CA23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-1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3CF5856C-2DCC-4224-858C-F72B9191D8C8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F265E1-D21D-4CB3-BB3B-268924D2495C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3F4D2D-2973-4ACC-B192-B9B9C062B26E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Démarche employée</a:t>
            </a:r>
            <a:endParaRPr lang="fr-FR" sz="4400" b="1" dirty="0">
              <a:solidFill>
                <a:schemeClr val="bg1"/>
              </a:solidFill>
            </a:endParaRPr>
          </a:p>
        </p:txBody>
      </p:sp>
      <p:pic>
        <p:nvPicPr>
          <p:cNvPr id="15" name="Picture 8" descr="Image associÃ©e">
            <a:extLst>
              <a:ext uri="{FF2B5EF4-FFF2-40B4-BE49-F238E27FC236}">
                <a16:creationId xmlns:a16="http://schemas.microsoft.com/office/drawing/2014/main" id="{D73B5BD8-0FA5-4DEF-9F26-E4C63F6FB2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1672" y="6161343"/>
            <a:ext cx="1810327" cy="69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2" name="Groupe 61">
            <a:extLst>
              <a:ext uri="{FF2B5EF4-FFF2-40B4-BE49-F238E27FC236}">
                <a16:creationId xmlns:a16="http://schemas.microsoft.com/office/drawing/2014/main" id="{8097E0D2-BD4C-48C5-91BB-31E40C0B7B3C}"/>
              </a:ext>
            </a:extLst>
          </p:cNvPr>
          <p:cNvGrpSpPr/>
          <p:nvPr/>
        </p:nvGrpSpPr>
        <p:grpSpPr>
          <a:xfrm>
            <a:off x="81856" y="6071877"/>
            <a:ext cx="731876" cy="696657"/>
            <a:chOff x="81856" y="6268713"/>
            <a:chExt cx="536895" cy="499821"/>
          </a:xfrm>
        </p:grpSpPr>
        <p:sp>
          <p:nvSpPr>
            <p:cNvPr id="63" name="Ellipse 62">
              <a:extLst>
                <a:ext uri="{FF2B5EF4-FFF2-40B4-BE49-F238E27FC236}">
                  <a16:creationId xmlns:a16="http://schemas.microsoft.com/office/drawing/2014/main" id="{E18270A2-A10F-4E6C-902A-932F26BCFD1F}"/>
                </a:ext>
              </a:extLst>
            </p:cNvPr>
            <p:cNvSpPr/>
            <p:nvPr/>
          </p:nvSpPr>
          <p:spPr>
            <a:xfrm>
              <a:off x="152777" y="6331654"/>
              <a:ext cx="395052" cy="371527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/>
                <a:t>4</a:t>
              </a:r>
              <a:endParaRPr lang="fr-FR" sz="700" dirty="0"/>
            </a:p>
          </p:txBody>
        </p:sp>
        <p:sp>
          <p:nvSpPr>
            <p:cNvPr id="64" name="Ellipse 63">
              <a:extLst>
                <a:ext uri="{FF2B5EF4-FFF2-40B4-BE49-F238E27FC236}">
                  <a16:creationId xmlns:a16="http://schemas.microsoft.com/office/drawing/2014/main" id="{F7E4F57A-D9F4-40F4-ADE4-14EB404B6D73}"/>
                </a:ext>
              </a:extLst>
            </p:cNvPr>
            <p:cNvSpPr/>
            <p:nvPr/>
          </p:nvSpPr>
          <p:spPr>
            <a:xfrm>
              <a:off x="81856" y="6268713"/>
              <a:ext cx="536895" cy="499821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41" name="Controller_High">
            <a:extLst>
              <a:ext uri="{FF2B5EF4-FFF2-40B4-BE49-F238E27FC236}">
                <a16:creationId xmlns:a16="http://schemas.microsoft.com/office/drawing/2014/main" id="{EA1AC99C-5092-48A1-81BA-ADE6DB86E4AD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520473" y="1468529"/>
            <a:ext cx="11613732" cy="1077007"/>
          </a:xfrm>
          <a:prstGeom prst="rect">
            <a:avLst/>
          </a:prstGeom>
          <a:noFill/>
          <a:ln w="6350" algn="ctr">
            <a:noFill/>
            <a:round/>
            <a:headEnd/>
            <a:tailEnd/>
          </a:ln>
        </p:spPr>
        <p:txBody>
          <a:bodyPr lIns="63108" tIns="63108" rIns="63108" bIns="63108"/>
          <a:lstStyle/>
          <a:p>
            <a:pPr eaLnBrk="0" hangingPunct="0"/>
            <a:r>
              <a:rPr lang="fr-FR" sz="1600" b="1" dirty="0">
                <a:solidFill>
                  <a:schemeClr val="bg1"/>
                </a:solidFill>
              </a:rPr>
              <a:t>Part du temps dans le projet: 100%</a:t>
            </a:r>
          </a:p>
        </p:txBody>
      </p:sp>
      <p:graphicFrame>
        <p:nvGraphicFramePr>
          <p:cNvPr id="42" name="Value Chain with Textboxes">
            <a:extLst>
              <a:ext uri="{FF2B5EF4-FFF2-40B4-BE49-F238E27FC236}">
                <a16:creationId xmlns:a16="http://schemas.microsoft.com/office/drawing/2014/main" id="{18303776-9954-4975-B028-1D81ED8B0013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8400639"/>
              </p:ext>
            </p:extLst>
          </p:nvPr>
        </p:nvGraphicFramePr>
        <p:xfrm>
          <a:off x="600440" y="2596905"/>
          <a:ext cx="10944225" cy="344047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5" r:lo="rId16" r:qs="rId17" r:cs="rId18"/>
          </a:graphicData>
        </a:graphic>
      </p:graphicFrame>
      <p:sp>
        <p:nvSpPr>
          <p:cNvPr id="43" name="Title">
            <a:extLst>
              <a:ext uri="{FF2B5EF4-FFF2-40B4-BE49-F238E27FC236}">
                <a16:creationId xmlns:a16="http://schemas.microsoft.com/office/drawing/2014/main" id="{F4C68D64-D5C5-4B39-A825-DE34839E8DF0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600440" y="2232849"/>
            <a:ext cx="2566830" cy="364056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ts val="24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ctr"/>
            <a:r>
              <a:rPr lang="fr-FR" sz="1600" dirty="0">
                <a:solidFill>
                  <a:schemeClr val="bg1"/>
                </a:solidFill>
              </a:rPr>
              <a:t>Septembre - Octobre</a:t>
            </a:r>
          </a:p>
        </p:txBody>
      </p:sp>
      <p:sp>
        <p:nvSpPr>
          <p:cNvPr id="59" name="Controller_High">
            <a:extLst>
              <a:ext uri="{FF2B5EF4-FFF2-40B4-BE49-F238E27FC236}">
                <a16:creationId xmlns:a16="http://schemas.microsoft.com/office/drawing/2014/main" id="{25458574-B1D8-436B-AE01-30D82175C2C3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600445" y="1858863"/>
            <a:ext cx="10833260" cy="19581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6350" algn="ctr">
            <a:noFill/>
            <a:miter lim="800000"/>
            <a:headEnd/>
            <a:tailEnd/>
          </a:ln>
        </p:spPr>
        <p:txBody>
          <a:bodyPr lIns="63108" tIns="63108" rIns="63108" bIns="63108" anchor="ctr"/>
          <a:lstStyle/>
          <a:p>
            <a:endParaRPr lang="fr-FR" dirty="0"/>
          </a:p>
        </p:txBody>
      </p:sp>
      <p:sp>
        <p:nvSpPr>
          <p:cNvPr id="60" name="Controller_High">
            <a:extLst>
              <a:ext uri="{FF2B5EF4-FFF2-40B4-BE49-F238E27FC236}">
                <a16:creationId xmlns:a16="http://schemas.microsoft.com/office/drawing/2014/main" id="{46DA310C-6053-48D1-99C6-124E4AE9FDE5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 rot="16200000">
            <a:off x="5740810" y="-3294757"/>
            <a:ext cx="195818" cy="10503056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00B050"/>
          </a:solidFill>
          <a:ln w="6350" algn="ctr">
            <a:noFill/>
            <a:miter lim="800000"/>
            <a:headEnd/>
            <a:tailEnd/>
          </a:ln>
        </p:spPr>
        <p:txBody>
          <a:bodyPr lIns="63108" tIns="63108" rIns="63108" bIns="63108" anchor="ctr"/>
          <a:lstStyle/>
          <a:p>
            <a:endParaRPr lang="fr-FR" dirty="0">
              <a:solidFill>
                <a:srgbClr val="92D050"/>
              </a:solidFill>
            </a:endParaRPr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5BEC2CBA-2BBD-4131-A1E8-B291ACD5D3F9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3450245" y="2230111"/>
            <a:ext cx="2566830" cy="364056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ts val="24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ctr"/>
            <a:r>
              <a:rPr lang="fr-FR" sz="1600" dirty="0">
                <a:solidFill>
                  <a:schemeClr val="bg1"/>
                </a:solidFill>
              </a:rPr>
              <a:t>Novembre - Décembre</a:t>
            </a:r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5C3F196B-2EAE-41F8-9383-C409A31C1798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6095999" y="2230111"/>
            <a:ext cx="2566830" cy="364056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ts val="24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ctr"/>
            <a:r>
              <a:rPr lang="fr-FR" sz="1600" dirty="0">
                <a:solidFill>
                  <a:schemeClr val="bg1"/>
                </a:solidFill>
              </a:rPr>
              <a:t>Janvier - Avril</a:t>
            </a:r>
          </a:p>
        </p:txBody>
      </p:sp>
      <p:sp>
        <p:nvSpPr>
          <p:cNvPr id="18" name="Title">
            <a:extLst>
              <a:ext uri="{FF2B5EF4-FFF2-40B4-BE49-F238E27FC236}">
                <a16:creationId xmlns:a16="http://schemas.microsoft.com/office/drawing/2014/main" id="{1F1D4E25-F499-409F-890A-7FF75C9B6FE3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8866875" y="2230111"/>
            <a:ext cx="2566830" cy="364056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ts val="24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ctr"/>
            <a:r>
              <a:rPr lang="fr-FR" sz="1600" dirty="0">
                <a:solidFill>
                  <a:schemeClr val="bg1"/>
                </a:solidFill>
              </a:rPr>
              <a:t>Mai - Juin</a:t>
            </a:r>
          </a:p>
        </p:txBody>
      </p:sp>
      <p:sp>
        <p:nvSpPr>
          <p:cNvPr id="19" name="Controller_High">
            <a:extLst>
              <a:ext uri="{FF2B5EF4-FFF2-40B4-BE49-F238E27FC236}">
                <a16:creationId xmlns:a16="http://schemas.microsoft.com/office/drawing/2014/main" id="{27ECC0A7-A28D-48BA-B6E9-73D5D51D64F4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 rot="5400000">
            <a:off x="6084267" y="-3297497"/>
            <a:ext cx="195819" cy="10503056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00B050"/>
          </a:solidFill>
          <a:ln w="6350" algn="ctr">
            <a:noFill/>
            <a:miter lim="800000"/>
            <a:headEnd/>
            <a:tailEnd/>
          </a:ln>
        </p:spPr>
        <p:txBody>
          <a:bodyPr lIns="63108" tIns="63108" rIns="63108" bIns="63108" anchor="ctr"/>
          <a:lstStyle/>
          <a:p>
            <a:endParaRPr lang="fr-FR" dirty="0">
              <a:solidFill>
                <a:srgbClr val="92D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1321705"/>
      </p:ext>
    </p:extLst>
  </p:cSld>
  <p:clrMapOvr>
    <a:masterClrMapping/>
  </p:clrMapOvr>
  <p:transition spd="slow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C401337-C7CB-41A6-8CE0-3585D7CA23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3CF5856C-2DCC-4224-858C-F72B9191D8C8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F265E1-D21D-4CB3-BB3B-268924D2495C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3F4D2D-2973-4ACC-B192-B9B9C062B26E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Démarche employée</a:t>
            </a:r>
            <a:endParaRPr lang="fr-FR" sz="4400" b="1" dirty="0">
              <a:solidFill>
                <a:schemeClr val="bg1"/>
              </a:solidFill>
            </a:endParaRP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99184F4E-E786-41F7-8FF2-DF0C64D502E1}"/>
              </a:ext>
            </a:extLst>
          </p:cNvPr>
          <p:cNvGrpSpPr/>
          <p:nvPr/>
        </p:nvGrpSpPr>
        <p:grpSpPr>
          <a:xfrm>
            <a:off x="81856" y="6071877"/>
            <a:ext cx="731876" cy="696657"/>
            <a:chOff x="81856" y="6268713"/>
            <a:chExt cx="536895" cy="499821"/>
          </a:xfrm>
        </p:grpSpPr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id="{300700A6-66DC-4417-9777-770A67377095}"/>
                </a:ext>
              </a:extLst>
            </p:cNvPr>
            <p:cNvSpPr/>
            <p:nvPr/>
          </p:nvSpPr>
          <p:spPr>
            <a:xfrm>
              <a:off x="152777" y="6331654"/>
              <a:ext cx="395052" cy="371527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/>
                <a:t>5</a:t>
              </a:r>
              <a:endParaRPr lang="fr-FR" sz="700" dirty="0"/>
            </a:p>
          </p:txBody>
        </p:sp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BD9E1393-A259-4000-9F24-9578D1A470BF}"/>
                </a:ext>
              </a:extLst>
            </p:cNvPr>
            <p:cNvSpPr/>
            <p:nvPr/>
          </p:nvSpPr>
          <p:spPr>
            <a:xfrm>
              <a:off x="81856" y="6268713"/>
              <a:ext cx="536895" cy="499821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87" name="Picture 8" descr="Image associÃ©e">
            <a:extLst>
              <a:ext uri="{FF2B5EF4-FFF2-40B4-BE49-F238E27FC236}">
                <a16:creationId xmlns:a16="http://schemas.microsoft.com/office/drawing/2014/main" id="{0090572A-2667-48E1-A1CE-342BF56B96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1672" y="6161343"/>
            <a:ext cx="1810327" cy="69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5" name="ZoneTexte 94">
            <a:extLst>
              <a:ext uri="{FF2B5EF4-FFF2-40B4-BE49-F238E27FC236}">
                <a16:creationId xmlns:a16="http://schemas.microsoft.com/office/drawing/2014/main" id="{E1878038-329E-46C5-A624-BED33F0C0209}"/>
              </a:ext>
            </a:extLst>
          </p:cNvPr>
          <p:cNvSpPr txBox="1"/>
          <p:nvPr/>
        </p:nvSpPr>
        <p:spPr>
          <a:xfrm>
            <a:off x="221672" y="1300870"/>
            <a:ext cx="2102489" cy="1335276"/>
          </a:xfrm>
          <a:prstGeom prst="rect">
            <a:avLst/>
          </a:prstGeom>
          <a:noFill/>
        </p:spPr>
        <p:txBody>
          <a:bodyPr wrap="square" lIns="103163" tIns="51581" rIns="103163" bIns="51581" rtlCol="0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1/ </a:t>
            </a:r>
            <a:r>
              <a:rPr lang="fr-FR" sz="1000" b="1" u="sng" dirty="0">
                <a:solidFill>
                  <a:schemeClr val="bg1"/>
                </a:solidFill>
                <a:latin typeface="Reem Kufi Regular"/>
              </a:rPr>
              <a:t>Présentation du projet</a:t>
            </a:r>
          </a:p>
          <a:p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Context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Problémat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Objectifs</a:t>
            </a:r>
          </a:p>
          <a:p>
            <a:pPr marL="226958" lvl="1"/>
            <a:r>
              <a:rPr lang="fr-FR" sz="1000" dirty="0">
                <a:solidFill>
                  <a:schemeClr val="bg1"/>
                </a:solidFill>
              </a:rPr>
              <a:t>  </a:t>
            </a: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65C42845-73D2-4BDE-8872-98AF5B0BEC39}"/>
              </a:ext>
            </a:extLst>
          </p:cNvPr>
          <p:cNvSpPr/>
          <p:nvPr/>
        </p:nvSpPr>
        <p:spPr>
          <a:xfrm>
            <a:off x="215033" y="2693441"/>
            <a:ext cx="2173758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rgbClr val="FF0000"/>
                </a:solidFill>
              </a:rPr>
              <a:t>2/Démarche employée</a:t>
            </a:r>
          </a:p>
          <a:p>
            <a:endParaRPr lang="fr-FR" sz="1000" b="1" u="sng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Grande ligne du projet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rgbClr val="FF0000"/>
                </a:solidFill>
              </a:rPr>
              <a:t>Moteur de recherche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Les applications utilisant le machine Learning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29492BF1-415D-49BF-8EE6-C95A3DC2F7CA}"/>
              </a:ext>
            </a:extLst>
          </p:cNvPr>
          <p:cNvSpPr/>
          <p:nvPr/>
        </p:nvSpPr>
        <p:spPr>
          <a:xfrm>
            <a:off x="221673" y="4047368"/>
            <a:ext cx="2167118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3/ Bilan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Techn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Personnel</a:t>
            </a:r>
          </a:p>
        </p:txBody>
      </p:sp>
      <p:pic>
        <p:nvPicPr>
          <p:cNvPr id="98" name="Image 97">
            <a:extLst>
              <a:ext uri="{FF2B5EF4-FFF2-40B4-BE49-F238E27FC236}">
                <a16:creationId xmlns:a16="http://schemas.microsoft.com/office/drawing/2014/main" id="{21FF241A-555F-4E97-9430-69F7C268099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9005" y="1556010"/>
            <a:ext cx="1117557" cy="1117557"/>
          </a:xfrm>
          <a:prstGeom prst="rect">
            <a:avLst/>
          </a:prstGeom>
        </p:spPr>
      </p:pic>
      <p:sp>
        <p:nvSpPr>
          <p:cNvPr id="99" name="ZoneTexte 98">
            <a:extLst>
              <a:ext uri="{FF2B5EF4-FFF2-40B4-BE49-F238E27FC236}">
                <a16:creationId xmlns:a16="http://schemas.microsoft.com/office/drawing/2014/main" id="{D1405B23-38BC-4D72-9484-55644AF10101}"/>
              </a:ext>
            </a:extLst>
          </p:cNvPr>
          <p:cNvSpPr txBox="1"/>
          <p:nvPr/>
        </p:nvSpPr>
        <p:spPr>
          <a:xfrm>
            <a:off x="3074902" y="2673567"/>
            <a:ext cx="17057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Corpus</a:t>
            </a: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E730BB12-DB99-420F-BF98-C93F1FCD3563}"/>
              </a:ext>
            </a:extLst>
          </p:cNvPr>
          <p:cNvSpPr/>
          <p:nvPr/>
        </p:nvSpPr>
        <p:spPr>
          <a:xfrm>
            <a:off x="2764509" y="1124772"/>
            <a:ext cx="8922512" cy="244273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4" name="ZoneTexte 113">
            <a:extLst>
              <a:ext uri="{FF2B5EF4-FFF2-40B4-BE49-F238E27FC236}">
                <a16:creationId xmlns:a16="http://schemas.microsoft.com/office/drawing/2014/main" id="{B105BDA4-0FC9-4D63-A5EB-3399FCCD8EC7}"/>
              </a:ext>
            </a:extLst>
          </p:cNvPr>
          <p:cNvSpPr txBox="1"/>
          <p:nvPr/>
        </p:nvSpPr>
        <p:spPr>
          <a:xfrm>
            <a:off x="9245827" y="1124772"/>
            <a:ext cx="2441194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dirty="0">
                <a:latin typeface="Reem Kufi Regular"/>
              </a:rPr>
              <a:t>Travail Préliminaire</a:t>
            </a:r>
          </a:p>
        </p:txBody>
      </p:sp>
      <p:sp>
        <p:nvSpPr>
          <p:cNvPr id="115" name="ZoneTexte 114">
            <a:extLst>
              <a:ext uri="{FF2B5EF4-FFF2-40B4-BE49-F238E27FC236}">
                <a16:creationId xmlns:a16="http://schemas.microsoft.com/office/drawing/2014/main" id="{E079B237-BFBD-4137-8727-514634B22E82}"/>
              </a:ext>
            </a:extLst>
          </p:cNvPr>
          <p:cNvSpPr txBox="1"/>
          <p:nvPr/>
        </p:nvSpPr>
        <p:spPr>
          <a:xfrm>
            <a:off x="9229050" y="3571678"/>
            <a:ext cx="2441194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dirty="0">
                <a:latin typeface="Reem Kufi Regular"/>
              </a:rPr>
              <a:t>Utilisation</a:t>
            </a: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604E7617-485C-46D9-A0A4-0D6303F9A3E0}"/>
              </a:ext>
            </a:extLst>
          </p:cNvPr>
          <p:cNvSpPr/>
          <p:nvPr/>
        </p:nvSpPr>
        <p:spPr>
          <a:xfrm>
            <a:off x="2764509" y="3567503"/>
            <a:ext cx="8922512" cy="2258764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cxnSp>
        <p:nvCxnSpPr>
          <p:cNvPr id="117" name="Connecteur droit avec flèche 116">
            <a:extLst>
              <a:ext uri="{FF2B5EF4-FFF2-40B4-BE49-F238E27FC236}">
                <a16:creationId xmlns:a16="http://schemas.microsoft.com/office/drawing/2014/main" id="{7313CAAE-1DE4-41EF-8505-96BC1FBB59A9}"/>
              </a:ext>
            </a:extLst>
          </p:cNvPr>
          <p:cNvCxnSpPr>
            <a:cxnSpLocks/>
          </p:cNvCxnSpPr>
          <p:nvPr/>
        </p:nvCxnSpPr>
        <p:spPr>
          <a:xfrm>
            <a:off x="4612299" y="2206722"/>
            <a:ext cx="855682" cy="0"/>
          </a:xfrm>
          <a:prstGeom prst="straightConnector1">
            <a:avLst/>
          </a:prstGeom>
          <a:ln w="76200" cap="flat" cmpd="sng" algn="ctr">
            <a:solidFill>
              <a:schemeClr val="accent6">
                <a:lumMod val="75000"/>
              </a:schemeClr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5BA4E404-B5C0-486F-977A-5EF86896C4A7}"/>
              </a:ext>
            </a:extLst>
          </p:cNvPr>
          <p:cNvSpPr/>
          <p:nvPr/>
        </p:nvSpPr>
        <p:spPr>
          <a:xfrm>
            <a:off x="5467981" y="1597452"/>
            <a:ext cx="1486732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Vectorisation</a:t>
            </a:r>
          </a:p>
          <a:p>
            <a:pPr algn="ctr"/>
            <a:r>
              <a:rPr lang="fr-FR" sz="1600" dirty="0">
                <a:solidFill>
                  <a:schemeClr val="bg1"/>
                </a:solidFill>
              </a:rPr>
              <a:t>(Stop words, tokenisation, lemming, stemming)</a:t>
            </a:r>
          </a:p>
        </p:txBody>
      </p:sp>
      <p:cxnSp>
        <p:nvCxnSpPr>
          <p:cNvPr id="118" name="Connecteur droit avec flèche 117">
            <a:extLst>
              <a:ext uri="{FF2B5EF4-FFF2-40B4-BE49-F238E27FC236}">
                <a16:creationId xmlns:a16="http://schemas.microsoft.com/office/drawing/2014/main" id="{02A54D65-E604-4971-81A2-4DF70BB58DB2}"/>
              </a:ext>
            </a:extLst>
          </p:cNvPr>
          <p:cNvCxnSpPr>
            <a:cxnSpLocks/>
          </p:cNvCxnSpPr>
          <p:nvPr/>
        </p:nvCxnSpPr>
        <p:spPr>
          <a:xfrm>
            <a:off x="7091710" y="2191613"/>
            <a:ext cx="494950" cy="13921"/>
          </a:xfrm>
          <a:prstGeom prst="straightConnector1">
            <a:avLst/>
          </a:prstGeom>
          <a:ln w="76200" cap="flat" cmpd="sng" algn="ctr">
            <a:solidFill>
              <a:schemeClr val="bg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DBA2B775-A565-4553-B33D-F34A2F772A15}"/>
              </a:ext>
            </a:extLst>
          </p:cNvPr>
          <p:cNvSpPr/>
          <p:nvPr/>
        </p:nvSpPr>
        <p:spPr>
          <a:xfrm>
            <a:off x="7673466" y="1899225"/>
            <a:ext cx="113810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Scoring</a:t>
            </a:r>
          </a:p>
          <a:p>
            <a:pPr algn="ctr"/>
            <a:r>
              <a:rPr lang="fr-FR" sz="1600" dirty="0">
                <a:solidFill>
                  <a:schemeClr val="bg1"/>
                </a:solidFill>
              </a:rPr>
              <a:t>(TF-IDF)</a:t>
            </a:r>
          </a:p>
        </p:txBody>
      </p:sp>
      <p:cxnSp>
        <p:nvCxnSpPr>
          <p:cNvPr id="119" name="Connecteur droit avec flèche 118">
            <a:extLst>
              <a:ext uri="{FF2B5EF4-FFF2-40B4-BE49-F238E27FC236}">
                <a16:creationId xmlns:a16="http://schemas.microsoft.com/office/drawing/2014/main" id="{8790C703-8280-4F2E-9B54-3A1AB643290F}"/>
              </a:ext>
            </a:extLst>
          </p:cNvPr>
          <p:cNvCxnSpPr>
            <a:cxnSpLocks/>
          </p:cNvCxnSpPr>
          <p:nvPr/>
        </p:nvCxnSpPr>
        <p:spPr>
          <a:xfrm flipV="1">
            <a:off x="8738152" y="2212494"/>
            <a:ext cx="792173" cy="1"/>
          </a:xfrm>
          <a:prstGeom prst="straightConnector1">
            <a:avLst/>
          </a:prstGeom>
          <a:ln w="76200" cap="flat" cmpd="sng" algn="ctr">
            <a:solidFill>
              <a:srgbClr val="C0000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pic>
        <p:nvPicPr>
          <p:cNvPr id="120" name="Image 119">
            <a:extLst>
              <a:ext uri="{FF2B5EF4-FFF2-40B4-BE49-F238E27FC236}">
                <a16:creationId xmlns:a16="http://schemas.microsoft.com/office/drawing/2014/main" id="{D75A6A19-BB3D-4ACE-B477-5775A16FD00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701688" y="1983812"/>
            <a:ext cx="1705761" cy="1093983"/>
          </a:xfrm>
          <a:prstGeom prst="rect">
            <a:avLst/>
          </a:prstGeom>
        </p:spPr>
      </p:pic>
      <p:sp>
        <p:nvSpPr>
          <p:cNvPr id="121" name="ZoneTexte 120">
            <a:extLst>
              <a:ext uri="{FF2B5EF4-FFF2-40B4-BE49-F238E27FC236}">
                <a16:creationId xmlns:a16="http://schemas.microsoft.com/office/drawing/2014/main" id="{11178CD8-AF97-4688-9E3F-299043A69FAF}"/>
              </a:ext>
            </a:extLst>
          </p:cNvPr>
          <p:cNvSpPr txBox="1"/>
          <p:nvPr/>
        </p:nvSpPr>
        <p:spPr>
          <a:xfrm>
            <a:off x="9407433" y="1645258"/>
            <a:ext cx="222378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Matrice du corpus</a:t>
            </a:r>
          </a:p>
        </p:txBody>
      </p:sp>
      <p:cxnSp>
        <p:nvCxnSpPr>
          <p:cNvPr id="122" name="Connecteur : en angle 121">
            <a:extLst>
              <a:ext uri="{FF2B5EF4-FFF2-40B4-BE49-F238E27FC236}">
                <a16:creationId xmlns:a16="http://schemas.microsoft.com/office/drawing/2014/main" id="{769C4CCB-DF80-46C8-9717-68884910CB03}"/>
              </a:ext>
            </a:extLst>
          </p:cNvPr>
          <p:cNvCxnSpPr>
            <a:cxnSpLocks/>
            <a:stCxn id="120" idx="2"/>
            <a:endCxn id="131" idx="0"/>
          </p:cNvCxnSpPr>
          <p:nvPr/>
        </p:nvCxnSpPr>
        <p:spPr>
          <a:xfrm rot="5400000">
            <a:off x="8744002" y="2703872"/>
            <a:ext cx="1436645" cy="2184490"/>
          </a:xfrm>
          <a:prstGeom prst="bentConnector3">
            <a:avLst>
              <a:gd name="adj1" fmla="val 19052"/>
            </a:avLst>
          </a:prstGeom>
          <a:ln w="76200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Rectangle 122">
            <a:extLst>
              <a:ext uri="{FF2B5EF4-FFF2-40B4-BE49-F238E27FC236}">
                <a16:creationId xmlns:a16="http://schemas.microsoft.com/office/drawing/2014/main" id="{58359753-D37F-4389-8F84-A5EC9198A51E}"/>
              </a:ext>
            </a:extLst>
          </p:cNvPr>
          <p:cNvSpPr/>
          <p:nvPr/>
        </p:nvSpPr>
        <p:spPr>
          <a:xfrm>
            <a:off x="2900870" y="4562300"/>
            <a:ext cx="2060199" cy="36933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Restaurants Lyon Terreaux</a:t>
            </a:r>
          </a:p>
        </p:txBody>
      </p:sp>
      <p:sp>
        <p:nvSpPr>
          <p:cNvPr id="124" name="ZoneTexte 123">
            <a:extLst>
              <a:ext uri="{FF2B5EF4-FFF2-40B4-BE49-F238E27FC236}">
                <a16:creationId xmlns:a16="http://schemas.microsoft.com/office/drawing/2014/main" id="{D7F90726-3AB3-4A76-820C-657CE4CC0F2A}"/>
              </a:ext>
            </a:extLst>
          </p:cNvPr>
          <p:cNvSpPr txBox="1"/>
          <p:nvPr/>
        </p:nvSpPr>
        <p:spPr>
          <a:xfrm>
            <a:off x="3097968" y="5022254"/>
            <a:ext cx="16596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Requête</a:t>
            </a:r>
            <a:r>
              <a:rPr lang="fr-FR" sz="1600" dirty="0"/>
              <a:t> </a:t>
            </a:r>
            <a:r>
              <a:rPr lang="fr-FR" sz="1600" dirty="0">
                <a:solidFill>
                  <a:schemeClr val="bg1"/>
                </a:solidFill>
              </a:rPr>
              <a:t>utilisateur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CE816640-F9C2-420F-ACF1-570C15D27C60}"/>
              </a:ext>
            </a:extLst>
          </p:cNvPr>
          <p:cNvSpPr/>
          <p:nvPr/>
        </p:nvSpPr>
        <p:spPr>
          <a:xfrm>
            <a:off x="5501762" y="4512219"/>
            <a:ext cx="141917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dirty="0">
                <a:solidFill>
                  <a:schemeClr val="bg1"/>
                </a:solidFill>
              </a:rPr>
              <a:t>Vectorisation</a:t>
            </a:r>
          </a:p>
        </p:txBody>
      </p:sp>
      <p:cxnSp>
        <p:nvCxnSpPr>
          <p:cNvPr id="125" name="Connecteur droit avec flèche 124">
            <a:extLst>
              <a:ext uri="{FF2B5EF4-FFF2-40B4-BE49-F238E27FC236}">
                <a16:creationId xmlns:a16="http://schemas.microsoft.com/office/drawing/2014/main" id="{47D12E71-CF65-4EEB-AA6C-06D398B90A83}"/>
              </a:ext>
            </a:extLst>
          </p:cNvPr>
          <p:cNvCxnSpPr>
            <a:cxnSpLocks/>
          </p:cNvCxnSpPr>
          <p:nvPr/>
        </p:nvCxnSpPr>
        <p:spPr>
          <a:xfrm>
            <a:off x="4961069" y="4746966"/>
            <a:ext cx="540693" cy="0"/>
          </a:xfrm>
          <a:prstGeom prst="straightConnector1">
            <a:avLst/>
          </a:prstGeom>
          <a:ln w="76200" cap="flat" cmpd="sng" algn="ctr">
            <a:solidFill>
              <a:schemeClr val="accent6">
                <a:lumMod val="75000"/>
              </a:schemeClr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28" name="Connecteur droit 127">
            <a:extLst>
              <a:ext uri="{FF2B5EF4-FFF2-40B4-BE49-F238E27FC236}">
                <a16:creationId xmlns:a16="http://schemas.microsoft.com/office/drawing/2014/main" id="{0BB07316-DB15-4ACC-B3CE-7F00CA4712DB}"/>
              </a:ext>
            </a:extLst>
          </p:cNvPr>
          <p:cNvCxnSpPr>
            <a:cxnSpLocks/>
          </p:cNvCxnSpPr>
          <p:nvPr/>
        </p:nvCxnSpPr>
        <p:spPr>
          <a:xfrm>
            <a:off x="6211347" y="2933607"/>
            <a:ext cx="0" cy="1529553"/>
          </a:xfrm>
          <a:prstGeom prst="line">
            <a:avLst/>
          </a:prstGeom>
          <a:ln w="9525" cap="flat" cmpd="sng" algn="ctr">
            <a:solidFill>
              <a:schemeClr val="bg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31" name="Rectangle 130">
            <a:extLst>
              <a:ext uri="{FF2B5EF4-FFF2-40B4-BE49-F238E27FC236}">
                <a16:creationId xmlns:a16="http://schemas.microsoft.com/office/drawing/2014/main" id="{BA75CDD2-D89F-497A-85A0-EB4989EE18B6}"/>
              </a:ext>
            </a:extLst>
          </p:cNvPr>
          <p:cNvSpPr/>
          <p:nvPr/>
        </p:nvSpPr>
        <p:spPr>
          <a:xfrm>
            <a:off x="7209833" y="4514440"/>
            <a:ext cx="2320492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Calcul de la similarité</a:t>
            </a:r>
          </a:p>
          <a:p>
            <a:pPr algn="ctr"/>
            <a:r>
              <a:rPr lang="fr-FR" sz="900" dirty="0">
                <a:solidFill>
                  <a:schemeClr val="bg1"/>
                </a:solidFill>
              </a:rPr>
              <a:t>(similarité cosinus)</a:t>
            </a:r>
            <a:endParaRPr lang="fr-FR" sz="1600" dirty="0">
              <a:solidFill>
                <a:schemeClr val="bg1"/>
              </a:solidFill>
            </a:endParaRPr>
          </a:p>
        </p:txBody>
      </p:sp>
      <p:cxnSp>
        <p:nvCxnSpPr>
          <p:cNvPr id="135" name="Connecteur droit avec flèche 134">
            <a:extLst>
              <a:ext uri="{FF2B5EF4-FFF2-40B4-BE49-F238E27FC236}">
                <a16:creationId xmlns:a16="http://schemas.microsoft.com/office/drawing/2014/main" id="{652C2342-940B-497B-A2A1-375C5B055220}"/>
              </a:ext>
            </a:extLst>
          </p:cNvPr>
          <p:cNvCxnSpPr>
            <a:cxnSpLocks/>
          </p:cNvCxnSpPr>
          <p:nvPr/>
        </p:nvCxnSpPr>
        <p:spPr>
          <a:xfrm>
            <a:off x="6924510" y="4733045"/>
            <a:ext cx="494950" cy="13921"/>
          </a:xfrm>
          <a:prstGeom prst="straightConnector1">
            <a:avLst/>
          </a:prstGeom>
          <a:ln w="76200" cap="flat" cmpd="sng" algn="ctr">
            <a:solidFill>
              <a:schemeClr val="bg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36" name="Connecteur droit avec flèche 135">
            <a:extLst>
              <a:ext uri="{FF2B5EF4-FFF2-40B4-BE49-F238E27FC236}">
                <a16:creationId xmlns:a16="http://schemas.microsoft.com/office/drawing/2014/main" id="{6A9DCAF5-775D-47BD-8454-06654E9CF862}"/>
              </a:ext>
            </a:extLst>
          </p:cNvPr>
          <p:cNvCxnSpPr>
            <a:cxnSpLocks/>
          </p:cNvCxnSpPr>
          <p:nvPr/>
        </p:nvCxnSpPr>
        <p:spPr>
          <a:xfrm flipV="1">
            <a:off x="9406393" y="4696884"/>
            <a:ext cx="692312" cy="3"/>
          </a:xfrm>
          <a:prstGeom prst="straightConnector1">
            <a:avLst/>
          </a:prstGeom>
          <a:ln w="76200" cap="flat" cmpd="sng" algn="ctr">
            <a:solidFill>
              <a:srgbClr val="C0000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38" name="ZoneTexte 137">
            <a:extLst>
              <a:ext uri="{FF2B5EF4-FFF2-40B4-BE49-F238E27FC236}">
                <a16:creationId xmlns:a16="http://schemas.microsoft.com/office/drawing/2014/main" id="{B271C880-0C1F-41B4-BC35-1F248A2FBB09}"/>
              </a:ext>
            </a:extLst>
          </p:cNvPr>
          <p:cNvSpPr txBox="1"/>
          <p:nvPr/>
        </p:nvSpPr>
        <p:spPr>
          <a:xfrm>
            <a:off x="9843678" y="5108234"/>
            <a:ext cx="184334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liste des meilleures correspondances</a:t>
            </a:r>
          </a:p>
        </p:txBody>
      </p:sp>
      <p:pic>
        <p:nvPicPr>
          <p:cNvPr id="140" name="Graphique 139" descr="Liste">
            <a:extLst>
              <a:ext uri="{FF2B5EF4-FFF2-40B4-BE49-F238E27FC236}">
                <a16:creationId xmlns:a16="http://schemas.microsoft.com/office/drawing/2014/main" id="{8C360E13-4BD6-4008-BDD8-67E11AE7C24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301819" y="4171777"/>
            <a:ext cx="914400" cy="914400"/>
          </a:xfrm>
          <a:prstGeom prst="rect">
            <a:avLst/>
          </a:prstGeom>
        </p:spPr>
      </p:pic>
      <p:pic>
        <p:nvPicPr>
          <p:cNvPr id="143" name="Image 142">
            <a:extLst>
              <a:ext uri="{FF2B5EF4-FFF2-40B4-BE49-F238E27FC236}">
                <a16:creationId xmlns:a16="http://schemas.microsoft.com/office/drawing/2014/main" id="{7DAB1EE8-A39B-40AB-9AC5-6566EC85EC1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641028" y="5871456"/>
            <a:ext cx="666597" cy="670792"/>
          </a:xfrm>
          <a:prstGeom prst="rect">
            <a:avLst/>
          </a:prstGeom>
        </p:spPr>
      </p:pic>
      <p:sp>
        <p:nvSpPr>
          <p:cNvPr id="144" name="ZoneTexte 143">
            <a:extLst>
              <a:ext uri="{FF2B5EF4-FFF2-40B4-BE49-F238E27FC236}">
                <a16:creationId xmlns:a16="http://schemas.microsoft.com/office/drawing/2014/main" id="{5FE0E162-2A06-4F37-8E5A-5AD951AC3620}"/>
              </a:ext>
            </a:extLst>
          </p:cNvPr>
          <p:cNvSpPr txBox="1"/>
          <p:nvPr/>
        </p:nvSpPr>
        <p:spPr>
          <a:xfrm>
            <a:off x="2248415" y="5965044"/>
            <a:ext cx="25056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Moteur de recherche</a:t>
            </a:r>
          </a:p>
        </p:txBody>
      </p:sp>
    </p:spTree>
    <p:extLst>
      <p:ext uri="{BB962C8B-B14F-4D97-AF65-F5344CB8AC3E}">
        <p14:creationId xmlns:p14="http://schemas.microsoft.com/office/powerpoint/2010/main" val="1535373731"/>
      </p:ext>
    </p:extLst>
  </p:cSld>
  <p:clrMapOvr>
    <a:masterClrMapping/>
  </p:clrMapOvr>
  <p:transition spd="slow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C401337-C7CB-41A6-8CE0-3585D7CA23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3CF5856C-2DCC-4224-858C-F72B9191D8C8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F265E1-D21D-4CB3-BB3B-268924D2495C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3F4D2D-2973-4ACC-B192-B9B9C062B26E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Démarche employée</a:t>
            </a:r>
            <a:endParaRPr lang="fr-FR" sz="4400" b="1" dirty="0">
              <a:solidFill>
                <a:schemeClr val="bg1"/>
              </a:solidFill>
            </a:endParaRP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99184F4E-E786-41F7-8FF2-DF0C64D502E1}"/>
              </a:ext>
            </a:extLst>
          </p:cNvPr>
          <p:cNvGrpSpPr/>
          <p:nvPr/>
        </p:nvGrpSpPr>
        <p:grpSpPr>
          <a:xfrm>
            <a:off x="81856" y="6071877"/>
            <a:ext cx="731876" cy="696657"/>
            <a:chOff x="81856" y="6268713"/>
            <a:chExt cx="536895" cy="499821"/>
          </a:xfrm>
        </p:grpSpPr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id="{300700A6-66DC-4417-9777-770A67377095}"/>
                </a:ext>
              </a:extLst>
            </p:cNvPr>
            <p:cNvSpPr/>
            <p:nvPr/>
          </p:nvSpPr>
          <p:spPr>
            <a:xfrm>
              <a:off x="152777" y="6331654"/>
              <a:ext cx="395052" cy="371527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/>
                <a:t>7</a:t>
              </a:r>
              <a:endParaRPr lang="fr-FR" sz="700" dirty="0"/>
            </a:p>
          </p:txBody>
        </p:sp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BD9E1393-A259-4000-9F24-9578D1A470BF}"/>
                </a:ext>
              </a:extLst>
            </p:cNvPr>
            <p:cNvSpPr/>
            <p:nvPr/>
          </p:nvSpPr>
          <p:spPr>
            <a:xfrm>
              <a:off x="81856" y="6268713"/>
              <a:ext cx="536895" cy="499821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38" name="Picture 8" descr="Image associÃ©e">
            <a:extLst>
              <a:ext uri="{FF2B5EF4-FFF2-40B4-BE49-F238E27FC236}">
                <a16:creationId xmlns:a16="http://schemas.microsoft.com/office/drawing/2014/main" id="{5962E2A6-22AD-4A48-9303-4F6B98E2BD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1672" y="6161343"/>
            <a:ext cx="1810327" cy="69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ZoneTexte 44">
            <a:extLst>
              <a:ext uri="{FF2B5EF4-FFF2-40B4-BE49-F238E27FC236}">
                <a16:creationId xmlns:a16="http://schemas.microsoft.com/office/drawing/2014/main" id="{5B254DCC-DE79-4379-9E44-540FAAC34C15}"/>
              </a:ext>
            </a:extLst>
          </p:cNvPr>
          <p:cNvSpPr txBox="1"/>
          <p:nvPr/>
        </p:nvSpPr>
        <p:spPr>
          <a:xfrm>
            <a:off x="221672" y="1300870"/>
            <a:ext cx="2102489" cy="1335276"/>
          </a:xfrm>
          <a:prstGeom prst="rect">
            <a:avLst/>
          </a:prstGeom>
          <a:noFill/>
        </p:spPr>
        <p:txBody>
          <a:bodyPr wrap="square" lIns="103163" tIns="51581" rIns="103163" bIns="51581" rtlCol="0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1/ </a:t>
            </a:r>
            <a:r>
              <a:rPr lang="fr-FR" sz="1000" b="1" u="sng" dirty="0">
                <a:solidFill>
                  <a:schemeClr val="bg1"/>
                </a:solidFill>
                <a:latin typeface="Reem Kufi Regular"/>
              </a:rPr>
              <a:t>Présentation du projet</a:t>
            </a:r>
          </a:p>
          <a:p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Context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Problémat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Objectifs</a:t>
            </a:r>
          </a:p>
          <a:p>
            <a:pPr marL="226958" lvl="1"/>
            <a:r>
              <a:rPr lang="fr-FR" sz="1000" dirty="0">
                <a:solidFill>
                  <a:schemeClr val="bg1"/>
                </a:solidFill>
              </a:rPr>
              <a:t>  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8B712C5-2E85-4485-B485-31191A0DCFE1}"/>
              </a:ext>
            </a:extLst>
          </p:cNvPr>
          <p:cNvSpPr/>
          <p:nvPr/>
        </p:nvSpPr>
        <p:spPr>
          <a:xfrm>
            <a:off x="215033" y="2693441"/>
            <a:ext cx="2173758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rgbClr val="FF0000"/>
                </a:solidFill>
              </a:rPr>
              <a:t>2/Démarche employée</a:t>
            </a:r>
          </a:p>
          <a:p>
            <a:endParaRPr lang="fr-FR" sz="1000" b="1" u="sng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Grande ligne du projet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rgbClr val="FF0000"/>
                </a:solidFill>
              </a:rPr>
              <a:t>Moteur de recherche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Les applications utilisant le machine Learning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590161E5-5386-4D21-B14A-2552D4E87E89}"/>
              </a:ext>
            </a:extLst>
          </p:cNvPr>
          <p:cNvSpPr/>
          <p:nvPr/>
        </p:nvSpPr>
        <p:spPr>
          <a:xfrm>
            <a:off x="221673" y="4047368"/>
            <a:ext cx="2167118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3/ Bilan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Techn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Personnel</a:t>
            </a:r>
          </a:p>
        </p:txBody>
      </p:sp>
      <p:sp>
        <p:nvSpPr>
          <p:cNvPr id="48" name="ZoneTexte 47">
            <a:extLst>
              <a:ext uri="{FF2B5EF4-FFF2-40B4-BE49-F238E27FC236}">
                <a16:creationId xmlns:a16="http://schemas.microsoft.com/office/drawing/2014/main" id="{B430C1A1-8919-48E9-916E-274171C949BE}"/>
              </a:ext>
            </a:extLst>
          </p:cNvPr>
          <p:cNvSpPr txBox="1"/>
          <p:nvPr/>
        </p:nvSpPr>
        <p:spPr>
          <a:xfrm>
            <a:off x="2395433" y="1512555"/>
            <a:ext cx="918594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Formules utilisées :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9" name="ZoneTexte 48">
                <a:extLst>
                  <a:ext uri="{FF2B5EF4-FFF2-40B4-BE49-F238E27FC236}">
                    <a16:creationId xmlns:a16="http://schemas.microsoft.com/office/drawing/2014/main" id="{528FFCAF-8949-4E82-8ED1-1BA84F5CBBFC}"/>
                  </a:ext>
                </a:extLst>
              </p:cNvPr>
              <p:cNvSpPr txBox="1"/>
              <p:nvPr/>
            </p:nvSpPr>
            <p:spPr>
              <a:xfrm>
                <a:off x="2395432" y="2668032"/>
                <a:ext cx="9185946" cy="94769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fr-FR" sz="3600" b="1" dirty="0">
                    <a:solidFill>
                      <a:schemeClr val="bg1"/>
                    </a:solidFill>
                    <a:latin typeface="Reem Kufi Regular"/>
                  </a:rPr>
                  <a:t>TF-IDF :	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fr-FR" sz="360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fr-FR" sz="3600" b="0" i="1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tfIdf</m:t>
                        </m:r>
                      </m:e>
                      <m:sub>
                        <m:r>
                          <a:rPr lang="fr-FR" sz="36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𝑡</m:t>
                        </m:r>
                        <m:r>
                          <a:rPr lang="fr-FR" sz="36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, </m:t>
                        </m:r>
                        <m:r>
                          <a:rPr lang="fr-FR" sz="36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𝑚</m:t>
                        </m:r>
                      </m:sub>
                    </m:sSub>
                    <m:r>
                      <a:rPr lang="fr-FR" sz="3600" b="0" i="1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= </m:t>
                    </m:r>
                    <m:r>
                      <a:rPr lang="fr-FR" sz="3600" b="0" i="1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𝑙𝑜𝑔</m:t>
                    </m:r>
                    <m:d>
                      <m:dPr>
                        <m:ctrlPr>
                          <a:rPr lang="fr-FR" sz="360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fr-FR" sz="36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1+</m:t>
                        </m:r>
                        <m:sSub>
                          <m:sSubPr>
                            <m:ctrlPr>
                              <a:rPr lang="fr-FR" sz="360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fr-FR" sz="3600" b="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𝑓</m:t>
                            </m:r>
                          </m:e>
                          <m:sub>
                            <m:r>
                              <a:rPr lang="fr-FR" sz="3600" b="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𝑡</m:t>
                            </m:r>
                            <m:r>
                              <a:rPr lang="fr-FR" sz="3600" b="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, </m:t>
                            </m:r>
                            <m:r>
                              <a:rPr lang="fr-FR" sz="3600" b="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𝑚</m:t>
                            </m:r>
                          </m:sub>
                        </m:sSub>
                      </m:e>
                    </m:d>
                    <m:r>
                      <a:rPr lang="fr-FR" sz="3600" b="0" i="1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∗</m:t>
                    </m:r>
                    <m:r>
                      <a:rPr lang="fr-FR" sz="3600" b="0" i="1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𝑙𝑜𝑔</m:t>
                    </m:r>
                    <m:r>
                      <a:rPr lang="fr-FR" sz="3600" b="0" i="1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(</m:t>
                    </m:r>
                    <m:f>
                      <m:fPr>
                        <m:ctrlPr>
                          <a:rPr lang="fr-FR" sz="360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fr-FR" sz="36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𝑁𝑇</m:t>
                        </m:r>
                      </m:num>
                      <m:den>
                        <m:sSub>
                          <m:sSubPr>
                            <m:ctrlPr>
                              <a:rPr lang="fr-FR" sz="360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fr-FR" sz="3600" b="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𝑛𝑡</m:t>
                            </m:r>
                          </m:e>
                          <m:sub>
                            <m:r>
                              <a:rPr lang="fr-FR" sz="3600" b="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𝑚</m:t>
                            </m:r>
                          </m:sub>
                        </m:sSub>
                      </m:den>
                    </m:f>
                    <m:r>
                      <a:rPr lang="fr-FR" sz="3600" b="0" i="1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fr-FR" sz="3600" dirty="0">
                  <a:solidFill>
                    <a:schemeClr val="bg1"/>
                  </a:solidFill>
                  <a:latin typeface="Reem Kufi Regular"/>
                </a:endParaRPr>
              </a:p>
            </p:txBody>
          </p:sp>
        </mc:Choice>
        <mc:Fallback xmlns="">
          <p:sp>
            <p:nvSpPr>
              <p:cNvPr id="49" name="ZoneTexte 48">
                <a:extLst>
                  <a:ext uri="{FF2B5EF4-FFF2-40B4-BE49-F238E27FC236}">
                    <a16:creationId xmlns:a16="http://schemas.microsoft.com/office/drawing/2014/main" id="{528FFCAF-8949-4E82-8ED1-1BA84F5CBBF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95432" y="2668032"/>
                <a:ext cx="9185946" cy="947695"/>
              </a:xfrm>
              <a:prstGeom prst="rect">
                <a:avLst/>
              </a:prstGeom>
              <a:blipFill>
                <a:blip r:embed="rId6"/>
                <a:stretch>
                  <a:fillRect l="-863" b="-5161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0" name="ZoneTexte 49">
                <a:extLst>
                  <a:ext uri="{FF2B5EF4-FFF2-40B4-BE49-F238E27FC236}">
                    <a16:creationId xmlns:a16="http://schemas.microsoft.com/office/drawing/2014/main" id="{B7BD84FA-4FF1-4FBC-A00C-5981E1259891}"/>
                  </a:ext>
                </a:extLst>
              </p:cNvPr>
              <p:cNvSpPr txBox="1"/>
              <p:nvPr/>
            </p:nvSpPr>
            <p:spPr>
              <a:xfrm>
                <a:off x="2395431" y="4189485"/>
                <a:ext cx="9185946" cy="122116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fr-FR" sz="3600" b="1" dirty="0">
                    <a:solidFill>
                      <a:schemeClr val="bg1"/>
                    </a:solidFill>
                    <a:latin typeface="Reem Kufi Regular"/>
                  </a:rPr>
                  <a:t>Similarity :	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fr-FR" sz="360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fr-FR" sz="36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𝑆</m:t>
                        </m:r>
                      </m:e>
                      <m:sub>
                        <m:r>
                          <a:rPr lang="fr-FR" sz="36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𝑡</m:t>
                        </m:r>
                        <m:r>
                          <a:rPr lang="fr-FR" sz="36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, </m:t>
                        </m:r>
                        <m:r>
                          <a:rPr lang="fr-FR" sz="36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𝑟</m:t>
                        </m:r>
                      </m:sub>
                    </m:sSub>
                    <m:r>
                      <a:rPr lang="fr-FR" sz="3600" b="0" i="1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fr-FR" sz="36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d>
                          <m:dPr>
                            <m:begChr m:val="⟨"/>
                            <m:endChr m:val="⟩"/>
                            <m:ctrlPr>
                              <a:rPr lang="fr-FR" sz="3600" b="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acc>
                              <m:accPr>
                                <m:chr m:val="⃗"/>
                                <m:ctrlPr>
                                  <a:rPr lang="fr-FR" sz="3600" b="0" i="1" smtClean="0">
                                    <a:solidFill>
                                      <a:schemeClr val="bg1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fr-FR" sz="3600" b="0" i="1" smtClean="0">
                                    <a:solidFill>
                                      <a:schemeClr val="bg1"/>
                                    </a:solidFill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</m:acc>
                          </m:e>
                          <m:e>
                            <m:acc>
                              <m:accPr>
                                <m:chr m:val="⃗"/>
                                <m:ctrlPr>
                                  <a:rPr lang="fr-FR" sz="3600" b="0" i="1" smtClean="0">
                                    <a:solidFill>
                                      <a:schemeClr val="bg1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fr-FR" sz="3600" b="0" i="1" smtClean="0">
                                    <a:solidFill>
                                      <a:schemeClr val="bg1"/>
                                    </a:solidFill>
                                    <a:latin typeface="Cambria Math" panose="02040503050406030204" pitchFamily="18" charset="0"/>
                                  </a:rPr>
                                  <m:t>𝑇</m:t>
                                </m:r>
                              </m:e>
                            </m:acc>
                          </m:e>
                        </m:d>
                      </m:num>
                      <m:den>
                        <m:d>
                          <m:dPr>
                            <m:begChr m:val="‖"/>
                            <m:endChr m:val="‖"/>
                            <m:ctrlPr>
                              <a:rPr lang="fr-FR" sz="3600" b="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acc>
                              <m:accPr>
                                <m:chr m:val="⃗"/>
                                <m:ctrlPr>
                                  <a:rPr lang="fr-FR" sz="3600" b="0" i="1" smtClean="0">
                                    <a:solidFill>
                                      <a:schemeClr val="bg1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fr-FR" sz="3600" b="0" i="1" smtClean="0">
                                    <a:solidFill>
                                      <a:schemeClr val="bg1"/>
                                    </a:solidFill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</m:acc>
                          </m:e>
                        </m:d>
                        <m:r>
                          <a:rPr lang="fr-FR" sz="36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 ∗ </m:t>
                        </m:r>
                        <m:d>
                          <m:dPr>
                            <m:begChr m:val="‖"/>
                            <m:endChr m:val="‖"/>
                            <m:ctrlPr>
                              <a:rPr lang="fr-FR" sz="3600" b="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acc>
                              <m:accPr>
                                <m:chr m:val="⃗"/>
                                <m:ctrlPr>
                                  <a:rPr lang="fr-FR" sz="3600" b="0" i="1" smtClean="0">
                                    <a:solidFill>
                                      <a:schemeClr val="bg1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fr-FR" sz="3600" b="0" i="1" smtClean="0">
                                    <a:solidFill>
                                      <a:schemeClr val="bg1"/>
                                    </a:solidFill>
                                    <a:latin typeface="Cambria Math" panose="02040503050406030204" pitchFamily="18" charset="0"/>
                                  </a:rPr>
                                  <m:t>𝑇</m:t>
                                </m:r>
                              </m:e>
                            </m:acc>
                          </m:e>
                        </m:d>
                      </m:den>
                    </m:f>
                    <m:r>
                      <a:rPr lang="fr-FR" sz="3600" b="0" i="1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=</m:t>
                    </m:r>
                    <m:r>
                      <m:rPr>
                        <m:sty m:val="p"/>
                      </m:rPr>
                      <a:rPr lang="fr-FR" sz="3600" b="0" i="0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cos</m:t>
                    </m:r>
                    <m:r>
                      <a:rPr lang="fr-FR" sz="3600" b="0" i="1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⁡(</m:t>
                    </m:r>
                    <m:acc>
                      <m:accPr>
                        <m:chr m:val="⃗"/>
                        <m:ctrlPr>
                          <a:rPr lang="fr-FR" sz="36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fr-FR" sz="36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𝑅</m:t>
                        </m:r>
                      </m:e>
                    </m:acc>
                    <m:r>
                      <a:rPr lang="fr-FR" sz="3600" b="0" i="1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, </m:t>
                    </m:r>
                    <m:acc>
                      <m:accPr>
                        <m:chr m:val="⃗"/>
                        <m:ctrlPr>
                          <a:rPr lang="fr-FR" sz="36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fr-FR" sz="36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𝑇</m:t>
                        </m:r>
                      </m:e>
                    </m:acc>
                    <m:r>
                      <a:rPr lang="fr-FR" sz="3600" b="0" i="1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fr-FR" sz="3600" dirty="0">
                  <a:solidFill>
                    <a:schemeClr val="bg1"/>
                  </a:solidFill>
                  <a:latin typeface="Reem Kufi Regular"/>
                </a:endParaRPr>
              </a:p>
            </p:txBody>
          </p:sp>
        </mc:Choice>
        <mc:Fallback xmlns="">
          <p:sp>
            <p:nvSpPr>
              <p:cNvPr id="50" name="ZoneTexte 49">
                <a:extLst>
                  <a:ext uri="{FF2B5EF4-FFF2-40B4-BE49-F238E27FC236}">
                    <a16:creationId xmlns:a16="http://schemas.microsoft.com/office/drawing/2014/main" id="{B7BD84FA-4FF1-4FBC-A00C-5981E125989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95431" y="4189485"/>
                <a:ext cx="9185946" cy="1221168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032212885"/>
      </p:ext>
    </p:extLst>
  </p:cSld>
  <p:clrMapOvr>
    <a:masterClrMapping/>
  </p:clrMapOvr>
  <p:transition spd="slow"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C401337-C7CB-41A6-8CE0-3585D7CA23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3CF5856C-2DCC-4224-858C-F72B9191D8C8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F265E1-D21D-4CB3-BB3B-268924D2495C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3F4D2D-2973-4ACC-B192-B9B9C062B26E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Démarche employée</a:t>
            </a:r>
            <a:endParaRPr lang="fr-FR" sz="4400" b="1" dirty="0">
              <a:solidFill>
                <a:schemeClr val="bg1"/>
              </a:solidFill>
            </a:endParaRP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99184F4E-E786-41F7-8FF2-DF0C64D502E1}"/>
              </a:ext>
            </a:extLst>
          </p:cNvPr>
          <p:cNvGrpSpPr/>
          <p:nvPr/>
        </p:nvGrpSpPr>
        <p:grpSpPr>
          <a:xfrm>
            <a:off x="81856" y="6071877"/>
            <a:ext cx="731876" cy="696657"/>
            <a:chOff x="81856" y="6268713"/>
            <a:chExt cx="536895" cy="499821"/>
          </a:xfrm>
        </p:grpSpPr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id="{300700A6-66DC-4417-9777-770A67377095}"/>
                </a:ext>
              </a:extLst>
            </p:cNvPr>
            <p:cNvSpPr/>
            <p:nvPr/>
          </p:nvSpPr>
          <p:spPr>
            <a:xfrm>
              <a:off x="152777" y="6331654"/>
              <a:ext cx="395052" cy="371527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/>
                <a:t>8</a:t>
              </a:r>
              <a:endParaRPr lang="fr-FR" sz="700" dirty="0"/>
            </a:p>
          </p:txBody>
        </p:sp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BD9E1393-A259-4000-9F24-9578D1A470BF}"/>
                </a:ext>
              </a:extLst>
            </p:cNvPr>
            <p:cNvSpPr/>
            <p:nvPr/>
          </p:nvSpPr>
          <p:spPr>
            <a:xfrm>
              <a:off x="81856" y="6268713"/>
              <a:ext cx="536895" cy="499821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87" name="Picture 8" descr="Image associÃ©e">
            <a:extLst>
              <a:ext uri="{FF2B5EF4-FFF2-40B4-BE49-F238E27FC236}">
                <a16:creationId xmlns:a16="http://schemas.microsoft.com/office/drawing/2014/main" id="{0090572A-2667-48E1-A1CE-342BF56B96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1672" y="6161343"/>
            <a:ext cx="1810327" cy="69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ZoneTexte 46">
            <a:extLst>
              <a:ext uri="{FF2B5EF4-FFF2-40B4-BE49-F238E27FC236}">
                <a16:creationId xmlns:a16="http://schemas.microsoft.com/office/drawing/2014/main" id="{35EC63A0-A045-400D-9A7E-1AF94C5EDCE3}"/>
              </a:ext>
            </a:extLst>
          </p:cNvPr>
          <p:cNvSpPr txBox="1"/>
          <p:nvPr/>
        </p:nvSpPr>
        <p:spPr>
          <a:xfrm>
            <a:off x="221672" y="1300870"/>
            <a:ext cx="2102489" cy="1335276"/>
          </a:xfrm>
          <a:prstGeom prst="rect">
            <a:avLst/>
          </a:prstGeom>
          <a:noFill/>
        </p:spPr>
        <p:txBody>
          <a:bodyPr wrap="square" lIns="103163" tIns="51581" rIns="103163" bIns="51581" rtlCol="0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1/ </a:t>
            </a:r>
            <a:r>
              <a:rPr lang="fr-FR" sz="1000" b="1" u="sng" dirty="0">
                <a:solidFill>
                  <a:schemeClr val="bg1"/>
                </a:solidFill>
                <a:latin typeface="Reem Kufi Regular"/>
              </a:rPr>
              <a:t>Présentation du projet</a:t>
            </a:r>
          </a:p>
          <a:p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Context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Problémat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Objectifs</a:t>
            </a:r>
          </a:p>
          <a:p>
            <a:pPr marL="226958" lvl="1"/>
            <a:r>
              <a:rPr lang="fr-FR" sz="1000" dirty="0">
                <a:solidFill>
                  <a:schemeClr val="bg1"/>
                </a:solidFill>
              </a:rPr>
              <a:t>  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FC979EDB-05FB-4D1F-ADF4-867969F21A2E}"/>
              </a:ext>
            </a:extLst>
          </p:cNvPr>
          <p:cNvSpPr/>
          <p:nvPr/>
        </p:nvSpPr>
        <p:spPr>
          <a:xfrm>
            <a:off x="215033" y="2693441"/>
            <a:ext cx="2173758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rgbClr val="FF0000"/>
                </a:solidFill>
              </a:rPr>
              <a:t>2/Démarche employée</a:t>
            </a:r>
          </a:p>
          <a:p>
            <a:endParaRPr lang="fr-FR" sz="1000" b="1" u="sng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Grande ligne du projet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Moteur de recherche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rgbClr val="FF0000"/>
                </a:solidFill>
              </a:rPr>
              <a:t>Les applications utilisant le machine Learning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50E00549-4D24-40B6-AE29-0024A82AE604}"/>
              </a:ext>
            </a:extLst>
          </p:cNvPr>
          <p:cNvSpPr/>
          <p:nvPr/>
        </p:nvSpPr>
        <p:spPr>
          <a:xfrm>
            <a:off x="221673" y="4047368"/>
            <a:ext cx="2167118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3/ Bilan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Techn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Personnel</a:t>
            </a:r>
          </a:p>
        </p:txBody>
      </p:sp>
      <p:pic>
        <p:nvPicPr>
          <p:cNvPr id="51" name="Image 50" descr="Une image contenant objet&#10;&#10;Description générée automatiquement">
            <a:extLst>
              <a:ext uri="{FF2B5EF4-FFF2-40B4-BE49-F238E27FC236}">
                <a16:creationId xmlns:a16="http://schemas.microsoft.com/office/drawing/2014/main" id="{7B34AA57-D988-4343-B829-901B7A769EA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9347" y="1129768"/>
            <a:ext cx="714278" cy="714278"/>
          </a:xfrm>
          <a:prstGeom prst="rect">
            <a:avLst/>
          </a:prstGeom>
        </p:spPr>
      </p:pic>
      <p:sp>
        <p:nvSpPr>
          <p:cNvPr id="54" name="ZoneTexte 53">
            <a:extLst>
              <a:ext uri="{FF2B5EF4-FFF2-40B4-BE49-F238E27FC236}">
                <a16:creationId xmlns:a16="http://schemas.microsoft.com/office/drawing/2014/main" id="{E0ECB9B0-76A2-4C3B-A417-67FC3D602B4F}"/>
              </a:ext>
            </a:extLst>
          </p:cNvPr>
          <p:cNvSpPr txBox="1"/>
          <p:nvPr/>
        </p:nvSpPr>
        <p:spPr>
          <a:xfrm>
            <a:off x="2281633" y="1861644"/>
            <a:ext cx="25097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Catégorisation de texte</a:t>
            </a:r>
          </a:p>
        </p:txBody>
      </p:sp>
      <p:pic>
        <p:nvPicPr>
          <p:cNvPr id="68" name="Image 9">
            <a:extLst>
              <a:ext uri="{FF2B5EF4-FFF2-40B4-BE49-F238E27FC236}">
                <a16:creationId xmlns:a16="http://schemas.microsoft.com/office/drawing/2014/main" id="{B6939DF9-1B16-4EB1-9823-B798B9A3533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334098" y="2752100"/>
            <a:ext cx="6667503" cy="3429000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3435195692"/>
      </p:ext>
    </p:extLst>
  </p:cSld>
  <p:clrMapOvr>
    <a:masterClrMapping/>
  </p:clrMapOvr>
  <p:transition spd="slow"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C401337-C7CB-41A6-8CE0-3585D7CA23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3CF5856C-2DCC-4224-858C-F72B9191D8C8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F265E1-D21D-4CB3-BB3B-268924D2495C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3F4D2D-2973-4ACC-B192-B9B9C062B26E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Démarche employée</a:t>
            </a:r>
            <a:endParaRPr lang="fr-FR" sz="4400" b="1" dirty="0">
              <a:solidFill>
                <a:schemeClr val="bg1"/>
              </a:solidFill>
            </a:endParaRP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99184F4E-E786-41F7-8FF2-DF0C64D502E1}"/>
              </a:ext>
            </a:extLst>
          </p:cNvPr>
          <p:cNvGrpSpPr/>
          <p:nvPr/>
        </p:nvGrpSpPr>
        <p:grpSpPr>
          <a:xfrm>
            <a:off x="81856" y="6071877"/>
            <a:ext cx="731876" cy="696657"/>
            <a:chOff x="81856" y="6268713"/>
            <a:chExt cx="536895" cy="499821"/>
          </a:xfrm>
        </p:grpSpPr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id="{300700A6-66DC-4417-9777-770A67377095}"/>
                </a:ext>
              </a:extLst>
            </p:cNvPr>
            <p:cNvSpPr/>
            <p:nvPr/>
          </p:nvSpPr>
          <p:spPr>
            <a:xfrm>
              <a:off x="152777" y="6331654"/>
              <a:ext cx="395052" cy="371527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/>
                <a:t>9</a:t>
              </a:r>
              <a:endParaRPr lang="fr-FR" sz="700" dirty="0"/>
            </a:p>
          </p:txBody>
        </p:sp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BD9E1393-A259-4000-9F24-9578D1A470BF}"/>
                </a:ext>
              </a:extLst>
            </p:cNvPr>
            <p:cNvSpPr/>
            <p:nvPr/>
          </p:nvSpPr>
          <p:spPr>
            <a:xfrm>
              <a:off x="81856" y="6268713"/>
              <a:ext cx="536895" cy="499821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87" name="Picture 8" descr="Image associÃ©e">
            <a:extLst>
              <a:ext uri="{FF2B5EF4-FFF2-40B4-BE49-F238E27FC236}">
                <a16:creationId xmlns:a16="http://schemas.microsoft.com/office/drawing/2014/main" id="{0090572A-2667-48E1-A1CE-342BF56B96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1672" y="6161343"/>
            <a:ext cx="1810327" cy="69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ZoneTexte 46">
            <a:extLst>
              <a:ext uri="{FF2B5EF4-FFF2-40B4-BE49-F238E27FC236}">
                <a16:creationId xmlns:a16="http://schemas.microsoft.com/office/drawing/2014/main" id="{35EC63A0-A045-400D-9A7E-1AF94C5EDCE3}"/>
              </a:ext>
            </a:extLst>
          </p:cNvPr>
          <p:cNvSpPr txBox="1"/>
          <p:nvPr/>
        </p:nvSpPr>
        <p:spPr>
          <a:xfrm>
            <a:off x="221672" y="1300870"/>
            <a:ext cx="2102489" cy="1335276"/>
          </a:xfrm>
          <a:prstGeom prst="rect">
            <a:avLst/>
          </a:prstGeom>
          <a:noFill/>
        </p:spPr>
        <p:txBody>
          <a:bodyPr wrap="square" lIns="103163" tIns="51581" rIns="103163" bIns="51581" rtlCol="0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1/ </a:t>
            </a:r>
            <a:r>
              <a:rPr lang="fr-FR" sz="1000" b="1" u="sng" dirty="0">
                <a:solidFill>
                  <a:schemeClr val="bg1"/>
                </a:solidFill>
                <a:latin typeface="Reem Kufi Regular"/>
              </a:rPr>
              <a:t>Présentation du projet</a:t>
            </a:r>
          </a:p>
          <a:p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Context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Problémat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Objectifs</a:t>
            </a:r>
          </a:p>
          <a:p>
            <a:pPr marL="226958" lvl="1"/>
            <a:r>
              <a:rPr lang="fr-FR" sz="1000" dirty="0">
                <a:solidFill>
                  <a:schemeClr val="bg1"/>
                </a:solidFill>
              </a:rPr>
              <a:t>  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FC979EDB-05FB-4D1F-ADF4-867969F21A2E}"/>
              </a:ext>
            </a:extLst>
          </p:cNvPr>
          <p:cNvSpPr/>
          <p:nvPr/>
        </p:nvSpPr>
        <p:spPr>
          <a:xfrm>
            <a:off x="215033" y="2693441"/>
            <a:ext cx="2173758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rgbClr val="FF0000"/>
                </a:solidFill>
              </a:rPr>
              <a:t>2/Démarche employée</a:t>
            </a:r>
          </a:p>
          <a:p>
            <a:endParaRPr lang="fr-FR" sz="1000" b="1" u="sng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Grande ligne du projet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Moteur de recherche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rgbClr val="FF0000"/>
                </a:solidFill>
              </a:rPr>
              <a:t>Les applications utilisant le machine Learning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50E00549-4D24-40B6-AE29-0024A82AE604}"/>
              </a:ext>
            </a:extLst>
          </p:cNvPr>
          <p:cNvSpPr/>
          <p:nvPr/>
        </p:nvSpPr>
        <p:spPr>
          <a:xfrm>
            <a:off x="221673" y="4047368"/>
            <a:ext cx="2167118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3/ Bilan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Techn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Personnel</a:t>
            </a:r>
          </a:p>
        </p:txBody>
      </p:sp>
      <p:sp>
        <p:nvSpPr>
          <p:cNvPr id="57" name="ZoneTexte 56">
            <a:extLst>
              <a:ext uri="{FF2B5EF4-FFF2-40B4-BE49-F238E27FC236}">
                <a16:creationId xmlns:a16="http://schemas.microsoft.com/office/drawing/2014/main" id="{3992E936-F0F4-4FA5-B96D-1DF8F6E4DBAC}"/>
              </a:ext>
            </a:extLst>
          </p:cNvPr>
          <p:cNvSpPr txBox="1"/>
          <p:nvPr/>
        </p:nvSpPr>
        <p:spPr>
          <a:xfrm>
            <a:off x="5535042" y="1849167"/>
            <a:ext cx="22761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Analyse de sentiment</a:t>
            </a:r>
          </a:p>
        </p:txBody>
      </p:sp>
      <p:pic>
        <p:nvPicPr>
          <p:cNvPr id="59" name="Image 58">
            <a:extLst>
              <a:ext uri="{FF2B5EF4-FFF2-40B4-BE49-F238E27FC236}">
                <a16:creationId xmlns:a16="http://schemas.microsoft.com/office/drawing/2014/main" id="{0FA35286-A15E-4F77-904E-67FAD6FB7F1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8673" y="1119256"/>
            <a:ext cx="635009" cy="635009"/>
          </a:xfrm>
          <a:prstGeom prst="rect">
            <a:avLst/>
          </a:prstGeom>
        </p:spPr>
      </p:pic>
      <p:pic>
        <p:nvPicPr>
          <p:cNvPr id="3" name="Graphique 2" descr="Visage souriant sans remplissage">
            <a:extLst>
              <a:ext uri="{FF2B5EF4-FFF2-40B4-BE49-F238E27FC236}">
                <a16:creationId xmlns:a16="http://schemas.microsoft.com/office/drawing/2014/main" id="{8C642973-2BD7-4C25-B453-36BE9A6E65B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915500" y="2793842"/>
            <a:ext cx="914400" cy="914400"/>
          </a:xfrm>
          <a:prstGeom prst="rect">
            <a:avLst/>
          </a:prstGeom>
        </p:spPr>
      </p:pic>
      <p:pic>
        <p:nvPicPr>
          <p:cNvPr id="5" name="Graphique 4" descr="Visage en colère sans remplissage">
            <a:extLst>
              <a:ext uri="{FF2B5EF4-FFF2-40B4-BE49-F238E27FC236}">
                <a16:creationId xmlns:a16="http://schemas.microsoft.com/office/drawing/2014/main" id="{DAFFED42-C839-4913-9199-E3F580AC748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915500" y="4266231"/>
            <a:ext cx="914400" cy="914400"/>
          </a:xfrm>
          <a:prstGeom prst="rect">
            <a:avLst/>
          </a:prstGeom>
        </p:spPr>
      </p:pic>
      <p:sp>
        <p:nvSpPr>
          <p:cNvPr id="25" name="ZoneTexte 24">
            <a:extLst>
              <a:ext uri="{FF2B5EF4-FFF2-40B4-BE49-F238E27FC236}">
                <a16:creationId xmlns:a16="http://schemas.microsoft.com/office/drawing/2014/main" id="{AF9D2AF9-605B-4B91-8C17-A19ABB20E339}"/>
              </a:ext>
            </a:extLst>
          </p:cNvPr>
          <p:cNvSpPr txBox="1"/>
          <p:nvPr/>
        </p:nvSpPr>
        <p:spPr>
          <a:xfrm>
            <a:off x="8234620" y="3617904"/>
            <a:ext cx="22761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Appréciation</a:t>
            </a:r>
          </a:p>
        </p:txBody>
      </p:sp>
      <p:sp>
        <p:nvSpPr>
          <p:cNvPr id="26" name="ZoneTexte 25">
            <a:extLst>
              <a:ext uri="{FF2B5EF4-FFF2-40B4-BE49-F238E27FC236}">
                <a16:creationId xmlns:a16="http://schemas.microsoft.com/office/drawing/2014/main" id="{71C9F0A4-0009-4393-AEA9-D39729E00FB0}"/>
              </a:ext>
            </a:extLst>
          </p:cNvPr>
          <p:cNvSpPr txBox="1"/>
          <p:nvPr/>
        </p:nvSpPr>
        <p:spPr>
          <a:xfrm>
            <a:off x="8234620" y="5078719"/>
            <a:ext cx="22761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Critique</a:t>
            </a:r>
          </a:p>
        </p:txBody>
      </p:sp>
      <p:cxnSp>
        <p:nvCxnSpPr>
          <p:cNvPr id="7" name="Connecteur : en arc 6">
            <a:extLst>
              <a:ext uri="{FF2B5EF4-FFF2-40B4-BE49-F238E27FC236}">
                <a16:creationId xmlns:a16="http://schemas.microsoft.com/office/drawing/2014/main" id="{FD510DCD-EF68-4B63-B41E-7509FE101F67}"/>
              </a:ext>
            </a:extLst>
          </p:cNvPr>
          <p:cNvCxnSpPr/>
          <p:nvPr/>
        </p:nvCxnSpPr>
        <p:spPr>
          <a:xfrm flipV="1">
            <a:off x="7593469" y="3241288"/>
            <a:ext cx="1322031" cy="918716"/>
          </a:xfrm>
          <a:prstGeom prst="curvedConnector3">
            <a:avLst/>
          </a:prstGeom>
          <a:ln w="381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necteur : en arc 28">
            <a:extLst>
              <a:ext uri="{FF2B5EF4-FFF2-40B4-BE49-F238E27FC236}">
                <a16:creationId xmlns:a16="http://schemas.microsoft.com/office/drawing/2014/main" id="{E1F0C0C2-755E-4662-89E7-CEFD5E724B4A}"/>
              </a:ext>
            </a:extLst>
          </p:cNvPr>
          <p:cNvCxnSpPr>
            <a:cxnSpLocks/>
            <a:endCxn id="5" idx="1"/>
          </p:cNvCxnSpPr>
          <p:nvPr/>
        </p:nvCxnSpPr>
        <p:spPr>
          <a:xfrm>
            <a:off x="7593469" y="4160004"/>
            <a:ext cx="1322031" cy="563427"/>
          </a:xfrm>
          <a:prstGeom prst="curvedConnector3">
            <a:avLst/>
          </a:prstGeom>
          <a:ln w="381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 descr="RÃ©sultat de recherche d'images pour &quot;tweet donald trump&quot;">
            <a:extLst>
              <a:ext uri="{FF2B5EF4-FFF2-40B4-BE49-F238E27FC236}">
                <a16:creationId xmlns:a16="http://schemas.microsoft.com/office/drawing/2014/main" id="{86312666-D9E6-4C03-900A-81F5DBFF37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29942" y="2758054"/>
            <a:ext cx="4437777" cy="2565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84141339"/>
      </p:ext>
    </p:extLst>
  </p:cSld>
  <p:clrMapOvr>
    <a:masterClrMapping/>
  </p:clrMapOvr>
  <p:transition spd="slow"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C401337-C7CB-41A6-8CE0-3585D7CA23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3CF5856C-2DCC-4224-858C-F72B9191D8C8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F265E1-D21D-4CB3-BB3B-268924D2495C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3F4D2D-2973-4ACC-B192-B9B9C062B26E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Démarche employée</a:t>
            </a:r>
            <a:endParaRPr lang="fr-FR" sz="4400" b="1" dirty="0">
              <a:solidFill>
                <a:schemeClr val="bg1"/>
              </a:solidFill>
            </a:endParaRP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99184F4E-E786-41F7-8FF2-DF0C64D502E1}"/>
              </a:ext>
            </a:extLst>
          </p:cNvPr>
          <p:cNvGrpSpPr/>
          <p:nvPr/>
        </p:nvGrpSpPr>
        <p:grpSpPr>
          <a:xfrm>
            <a:off x="81856" y="6071877"/>
            <a:ext cx="731876" cy="696657"/>
            <a:chOff x="81856" y="6268713"/>
            <a:chExt cx="536895" cy="499821"/>
          </a:xfrm>
        </p:grpSpPr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id="{300700A6-66DC-4417-9777-770A67377095}"/>
                </a:ext>
              </a:extLst>
            </p:cNvPr>
            <p:cNvSpPr/>
            <p:nvPr/>
          </p:nvSpPr>
          <p:spPr>
            <a:xfrm>
              <a:off x="152777" y="6331654"/>
              <a:ext cx="395052" cy="371527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/>
                <a:t>10</a:t>
              </a:r>
              <a:endParaRPr lang="fr-FR" sz="700" dirty="0"/>
            </a:p>
          </p:txBody>
        </p:sp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BD9E1393-A259-4000-9F24-9578D1A470BF}"/>
                </a:ext>
              </a:extLst>
            </p:cNvPr>
            <p:cNvSpPr/>
            <p:nvPr/>
          </p:nvSpPr>
          <p:spPr>
            <a:xfrm>
              <a:off x="81856" y="6268713"/>
              <a:ext cx="536895" cy="499821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87" name="Picture 8" descr="Image associÃ©e">
            <a:extLst>
              <a:ext uri="{FF2B5EF4-FFF2-40B4-BE49-F238E27FC236}">
                <a16:creationId xmlns:a16="http://schemas.microsoft.com/office/drawing/2014/main" id="{0090572A-2667-48E1-A1CE-342BF56B96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1672" y="6161343"/>
            <a:ext cx="1810327" cy="69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ZoneTexte 46">
            <a:extLst>
              <a:ext uri="{FF2B5EF4-FFF2-40B4-BE49-F238E27FC236}">
                <a16:creationId xmlns:a16="http://schemas.microsoft.com/office/drawing/2014/main" id="{35EC63A0-A045-400D-9A7E-1AF94C5EDCE3}"/>
              </a:ext>
            </a:extLst>
          </p:cNvPr>
          <p:cNvSpPr txBox="1"/>
          <p:nvPr/>
        </p:nvSpPr>
        <p:spPr>
          <a:xfrm>
            <a:off x="221672" y="1300870"/>
            <a:ext cx="2102489" cy="1335276"/>
          </a:xfrm>
          <a:prstGeom prst="rect">
            <a:avLst/>
          </a:prstGeom>
          <a:noFill/>
        </p:spPr>
        <p:txBody>
          <a:bodyPr wrap="square" lIns="103163" tIns="51581" rIns="103163" bIns="51581" rtlCol="0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1/ </a:t>
            </a:r>
            <a:r>
              <a:rPr lang="fr-FR" sz="1000" b="1" u="sng" dirty="0">
                <a:solidFill>
                  <a:schemeClr val="bg1"/>
                </a:solidFill>
                <a:latin typeface="Reem Kufi Regular"/>
              </a:rPr>
              <a:t>Présentation du projet</a:t>
            </a:r>
          </a:p>
          <a:p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Context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Problémat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Objectifs</a:t>
            </a:r>
          </a:p>
          <a:p>
            <a:pPr marL="226958" lvl="1"/>
            <a:r>
              <a:rPr lang="fr-FR" sz="1000" dirty="0">
                <a:solidFill>
                  <a:schemeClr val="bg1"/>
                </a:solidFill>
              </a:rPr>
              <a:t>  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FC979EDB-05FB-4D1F-ADF4-867969F21A2E}"/>
              </a:ext>
            </a:extLst>
          </p:cNvPr>
          <p:cNvSpPr/>
          <p:nvPr/>
        </p:nvSpPr>
        <p:spPr>
          <a:xfrm>
            <a:off x="215033" y="2693441"/>
            <a:ext cx="2173758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rgbClr val="FF0000"/>
                </a:solidFill>
              </a:rPr>
              <a:t>2/Démarche employée</a:t>
            </a:r>
          </a:p>
          <a:p>
            <a:endParaRPr lang="fr-FR" sz="1000" b="1" u="sng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Grande ligne du projet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Moteur de recherche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rgbClr val="FF0000"/>
                </a:solidFill>
              </a:rPr>
              <a:t>Les applications utilisant le machine Learning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50E00549-4D24-40B6-AE29-0024A82AE604}"/>
              </a:ext>
            </a:extLst>
          </p:cNvPr>
          <p:cNvSpPr/>
          <p:nvPr/>
        </p:nvSpPr>
        <p:spPr>
          <a:xfrm>
            <a:off x="221673" y="4047368"/>
            <a:ext cx="2167118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3/ Bilan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Techn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Personnel</a:t>
            </a:r>
          </a:p>
        </p:txBody>
      </p:sp>
      <p:pic>
        <p:nvPicPr>
          <p:cNvPr id="55" name="Image 54">
            <a:extLst>
              <a:ext uri="{FF2B5EF4-FFF2-40B4-BE49-F238E27FC236}">
                <a16:creationId xmlns:a16="http://schemas.microsoft.com/office/drawing/2014/main" id="{DF00D70F-03A1-4048-8BC7-B94528683DE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35663" y="1057864"/>
            <a:ext cx="731876" cy="731876"/>
          </a:xfrm>
          <a:prstGeom prst="rect">
            <a:avLst/>
          </a:prstGeom>
        </p:spPr>
      </p:pic>
      <p:sp>
        <p:nvSpPr>
          <p:cNvPr id="56" name="ZoneTexte 55">
            <a:extLst>
              <a:ext uri="{FF2B5EF4-FFF2-40B4-BE49-F238E27FC236}">
                <a16:creationId xmlns:a16="http://schemas.microsoft.com/office/drawing/2014/main" id="{0590F635-A509-423B-BD53-AB99BD1B61D5}"/>
              </a:ext>
            </a:extLst>
          </p:cNvPr>
          <p:cNvSpPr txBox="1"/>
          <p:nvPr/>
        </p:nvSpPr>
        <p:spPr>
          <a:xfrm>
            <a:off x="9065500" y="1866521"/>
            <a:ext cx="187220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Analyse de spam</a:t>
            </a:r>
          </a:p>
        </p:txBody>
      </p:sp>
      <p:pic>
        <p:nvPicPr>
          <p:cNvPr id="4098" name="Picture 2" descr="RÃ©sultat de recherche d'images pour &quot;spam message&quot;">
            <a:extLst>
              <a:ext uri="{FF2B5EF4-FFF2-40B4-BE49-F238E27FC236}">
                <a16:creationId xmlns:a16="http://schemas.microsoft.com/office/drawing/2014/main" id="{14D05A71-7B03-4028-B8CF-2F4E27A55A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5572" y="2081200"/>
            <a:ext cx="4467138" cy="40784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Graphique 20" descr="Enveloppe">
            <a:extLst>
              <a:ext uri="{FF2B5EF4-FFF2-40B4-BE49-F238E27FC236}">
                <a16:creationId xmlns:a16="http://schemas.microsoft.com/office/drawing/2014/main" id="{48F3BE92-FB50-4543-A6C5-D27D930D539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844874" y="2387703"/>
            <a:ext cx="1581577" cy="1581577"/>
          </a:xfrm>
          <a:prstGeom prst="rect">
            <a:avLst/>
          </a:prstGeom>
        </p:spPr>
      </p:pic>
      <p:pic>
        <p:nvPicPr>
          <p:cNvPr id="24" name="Graphique 23" descr="Enveloppe">
            <a:extLst>
              <a:ext uri="{FF2B5EF4-FFF2-40B4-BE49-F238E27FC236}">
                <a16:creationId xmlns:a16="http://schemas.microsoft.com/office/drawing/2014/main" id="{DB647308-51C7-4EA3-965B-514795B9ADE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844874" y="4218559"/>
            <a:ext cx="1581577" cy="1581577"/>
          </a:xfrm>
          <a:prstGeom prst="rect">
            <a:avLst/>
          </a:prstGeom>
        </p:spPr>
      </p:pic>
      <p:sp>
        <p:nvSpPr>
          <p:cNvPr id="2" name="Interdiction 1">
            <a:extLst>
              <a:ext uri="{FF2B5EF4-FFF2-40B4-BE49-F238E27FC236}">
                <a16:creationId xmlns:a16="http://schemas.microsoft.com/office/drawing/2014/main" id="{BD9074FD-0084-49DC-A0A5-607CFDCF3448}"/>
              </a:ext>
            </a:extLst>
          </p:cNvPr>
          <p:cNvSpPr/>
          <p:nvPr/>
        </p:nvSpPr>
        <p:spPr>
          <a:xfrm>
            <a:off x="8789813" y="4266855"/>
            <a:ext cx="1691698" cy="1484984"/>
          </a:xfrm>
          <a:prstGeom prst="noSmoking">
            <a:avLst>
              <a:gd name="adj" fmla="val 6836"/>
            </a:avLst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tx1"/>
              </a:solidFill>
            </a:endParaRPr>
          </a:p>
        </p:txBody>
      </p:sp>
      <p:sp>
        <p:nvSpPr>
          <p:cNvPr id="25" name="ZoneTexte 24">
            <a:extLst>
              <a:ext uri="{FF2B5EF4-FFF2-40B4-BE49-F238E27FC236}">
                <a16:creationId xmlns:a16="http://schemas.microsoft.com/office/drawing/2014/main" id="{4A379A1B-22B2-48A9-B4C0-82194F8A98B1}"/>
              </a:ext>
            </a:extLst>
          </p:cNvPr>
          <p:cNvSpPr txBox="1"/>
          <p:nvPr/>
        </p:nvSpPr>
        <p:spPr>
          <a:xfrm>
            <a:off x="8500459" y="3664635"/>
            <a:ext cx="22761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Message normal</a:t>
            </a:r>
          </a:p>
        </p:txBody>
      </p:sp>
      <p:sp>
        <p:nvSpPr>
          <p:cNvPr id="26" name="ZoneTexte 25">
            <a:extLst>
              <a:ext uri="{FF2B5EF4-FFF2-40B4-BE49-F238E27FC236}">
                <a16:creationId xmlns:a16="http://schemas.microsoft.com/office/drawing/2014/main" id="{4CCDC52E-75E5-42D7-9A79-1BFB7374ABD3}"/>
              </a:ext>
            </a:extLst>
          </p:cNvPr>
          <p:cNvSpPr txBox="1"/>
          <p:nvPr/>
        </p:nvSpPr>
        <p:spPr>
          <a:xfrm>
            <a:off x="8497582" y="5848432"/>
            <a:ext cx="22761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SPAM</a:t>
            </a:r>
          </a:p>
        </p:txBody>
      </p:sp>
      <p:cxnSp>
        <p:nvCxnSpPr>
          <p:cNvPr id="27" name="Connecteur : en arc 26">
            <a:extLst>
              <a:ext uri="{FF2B5EF4-FFF2-40B4-BE49-F238E27FC236}">
                <a16:creationId xmlns:a16="http://schemas.microsoft.com/office/drawing/2014/main" id="{6237C743-EABB-4382-A3DE-FDDE355C39E9}"/>
              </a:ext>
            </a:extLst>
          </p:cNvPr>
          <p:cNvCxnSpPr>
            <a:cxnSpLocks/>
          </p:cNvCxnSpPr>
          <p:nvPr/>
        </p:nvCxnSpPr>
        <p:spPr>
          <a:xfrm flipV="1">
            <a:off x="7322710" y="3178491"/>
            <a:ext cx="1335734" cy="852058"/>
          </a:xfrm>
          <a:prstGeom prst="curvedConnector3">
            <a:avLst/>
          </a:prstGeom>
          <a:ln w="381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necteur : en arc 27">
            <a:extLst>
              <a:ext uri="{FF2B5EF4-FFF2-40B4-BE49-F238E27FC236}">
                <a16:creationId xmlns:a16="http://schemas.microsoft.com/office/drawing/2014/main" id="{AECDBAA1-CBEB-43A7-B657-0D2382DB004E}"/>
              </a:ext>
            </a:extLst>
          </p:cNvPr>
          <p:cNvCxnSpPr>
            <a:cxnSpLocks/>
          </p:cNvCxnSpPr>
          <p:nvPr/>
        </p:nvCxnSpPr>
        <p:spPr>
          <a:xfrm>
            <a:off x="7322710" y="4121809"/>
            <a:ext cx="1385062" cy="939373"/>
          </a:xfrm>
          <a:prstGeom prst="curvedConnector3">
            <a:avLst/>
          </a:prstGeom>
          <a:ln w="381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91814958"/>
      </p:ext>
    </p:extLst>
  </p:cSld>
  <p:clrMapOvr>
    <a:masterClrMapping/>
  </p:clrMapOvr>
  <p:transition spd="slow"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C401337-C7CB-41A6-8CE0-3585D7CA23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3CF5856C-2DCC-4224-858C-F72B9191D8C8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F265E1-D21D-4CB3-BB3B-268924D2495C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3F4D2D-2973-4ACC-B192-B9B9C062B26E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Démarche employée</a:t>
            </a:r>
            <a:endParaRPr lang="fr-FR" sz="4400" b="1" dirty="0">
              <a:solidFill>
                <a:schemeClr val="bg1"/>
              </a:solidFill>
            </a:endParaRP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99184F4E-E786-41F7-8FF2-DF0C64D502E1}"/>
              </a:ext>
            </a:extLst>
          </p:cNvPr>
          <p:cNvGrpSpPr/>
          <p:nvPr/>
        </p:nvGrpSpPr>
        <p:grpSpPr>
          <a:xfrm>
            <a:off x="81856" y="6071877"/>
            <a:ext cx="731876" cy="696657"/>
            <a:chOff x="81856" y="6268713"/>
            <a:chExt cx="536895" cy="499821"/>
          </a:xfrm>
        </p:grpSpPr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id="{300700A6-66DC-4417-9777-770A67377095}"/>
                </a:ext>
              </a:extLst>
            </p:cNvPr>
            <p:cNvSpPr/>
            <p:nvPr/>
          </p:nvSpPr>
          <p:spPr>
            <a:xfrm>
              <a:off x="152777" y="6331654"/>
              <a:ext cx="395052" cy="371527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/>
                <a:t>11</a:t>
              </a:r>
              <a:endParaRPr lang="fr-FR" sz="700" dirty="0"/>
            </a:p>
          </p:txBody>
        </p:sp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BD9E1393-A259-4000-9F24-9578D1A470BF}"/>
                </a:ext>
              </a:extLst>
            </p:cNvPr>
            <p:cNvSpPr/>
            <p:nvPr/>
          </p:nvSpPr>
          <p:spPr>
            <a:xfrm>
              <a:off x="81856" y="6268713"/>
              <a:ext cx="536895" cy="499821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87" name="Picture 8" descr="Image associÃ©e">
            <a:extLst>
              <a:ext uri="{FF2B5EF4-FFF2-40B4-BE49-F238E27FC236}">
                <a16:creationId xmlns:a16="http://schemas.microsoft.com/office/drawing/2014/main" id="{0090572A-2667-48E1-A1CE-342BF56B96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1672" y="6161343"/>
            <a:ext cx="1810327" cy="69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ZoneTexte 46">
            <a:extLst>
              <a:ext uri="{FF2B5EF4-FFF2-40B4-BE49-F238E27FC236}">
                <a16:creationId xmlns:a16="http://schemas.microsoft.com/office/drawing/2014/main" id="{35EC63A0-A045-400D-9A7E-1AF94C5EDCE3}"/>
              </a:ext>
            </a:extLst>
          </p:cNvPr>
          <p:cNvSpPr txBox="1"/>
          <p:nvPr/>
        </p:nvSpPr>
        <p:spPr>
          <a:xfrm>
            <a:off x="221672" y="1300870"/>
            <a:ext cx="2102489" cy="1335276"/>
          </a:xfrm>
          <a:prstGeom prst="rect">
            <a:avLst/>
          </a:prstGeom>
          <a:noFill/>
        </p:spPr>
        <p:txBody>
          <a:bodyPr wrap="square" lIns="103163" tIns="51581" rIns="103163" bIns="51581" rtlCol="0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1/ </a:t>
            </a:r>
            <a:r>
              <a:rPr lang="fr-FR" sz="1000" b="1" u="sng" dirty="0">
                <a:solidFill>
                  <a:schemeClr val="bg1"/>
                </a:solidFill>
                <a:latin typeface="Reem Kufi Regular"/>
              </a:rPr>
              <a:t>Présentation du projet</a:t>
            </a:r>
          </a:p>
          <a:p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Context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Problémat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Objectifs</a:t>
            </a:r>
          </a:p>
          <a:p>
            <a:pPr marL="226958" lvl="1"/>
            <a:r>
              <a:rPr lang="fr-FR" sz="1000" dirty="0">
                <a:solidFill>
                  <a:schemeClr val="bg1"/>
                </a:solidFill>
              </a:rPr>
              <a:t>  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FC979EDB-05FB-4D1F-ADF4-867969F21A2E}"/>
              </a:ext>
            </a:extLst>
          </p:cNvPr>
          <p:cNvSpPr/>
          <p:nvPr/>
        </p:nvSpPr>
        <p:spPr>
          <a:xfrm>
            <a:off x="215033" y="2693441"/>
            <a:ext cx="2173758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rgbClr val="FF0000"/>
                </a:solidFill>
              </a:rPr>
              <a:t>2/Démarche employée</a:t>
            </a:r>
          </a:p>
          <a:p>
            <a:endParaRPr lang="fr-FR" sz="1000" b="1" u="sng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Grande ligne du projet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Moteur de recherche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rgbClr val="FF0000"/>
                </a:solidFill>
              </a:rPr>
              <a:t>Les applications utilisant le machine Learning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50E00549-4D24-40B6-AE29-0024A82AE604}"/>
              </a:ext>
            </a:extLst>
          </p:cNvPr>
          <p:cNvSpPr/>
          <p:nvPr/>
        </p:nvSpPr>
        <p:spPr>
          <a:xfrm>
            <a:off x="221673" y="4047368"/>
            <a:ext cx="2167118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3/ Bilan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Techn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Personnel</a:t>
            </a:r>
          </a:p>
        </p:txBody>
      </p:sp>
      <p:pic>
        <p:nvPicPr>
          <p:cNvPr id="51" name="Image 50" descr="Une image contenant objet&#10;&#10;Description générée automatiquement">
            <a:extLst>
              <a:ext uri="{FF2B5EF4-FFF2-40B4-BE49-F238E27FC236}">
                <a16:creationId xmlns:a16="http://schemas.microsoft.com/office/drawing/2014/main" id="{7B34AA57-D988-4343-B829-901B7A769EA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9347" y="1129768"/>
            <a:ext cx="714278" cy="714278"/>
          </a:xfrm>
          <a:prstGeom prst="rect">
            <a:avLst/>
          </a:prstGeom>
        </p:spPr>
      </p:pic>
      <p:sp>
        <p:nvSpPr>
          <p:cNvPr id="54" name="ZoneTexte 53">
            <a:extLst>
              <a:ext uri="{FF2B5EF4-FFF2-40B4-BE49-F238E27FC236}">
                <a16:creationId xmlns:a16="http://schemas.microsoft.com/office/drawing/2014/main" id="{E0ECB9B0-76A2-4C3B-A417-67FC3D602B4F}"/>
              </a:ext>
            </a:extLst>
          </p:cNvPr>
          <p:cNvSpPr txBox="1"/>
          <p:nvPr/>
        </p:nvSpPr>
        <p:spPr>
          <a:xfrm>
            <a:off x="2281633" y="1861644"/>
            <a:ext cx="25097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Catégorisation de texte</a:t>
            </a:r>
          </a:p>
        </p:txBody>
      </p:sp>
      <p:pic>
        <p:nvPicPr>
          <p:cNvPr id="55" name="Image 54">
            <a:extLst>
              <a:ext uri="{FF2B5EF4-FFF2-40B4-BE49-F238E27FC236}">
                <a16:creationId xmlns:a16="http://schemas.microsoft.com/office/drawing/2014/main" id="{DF00D70F-03A1-4048-8BC7-B94528683DE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35663" y="1057864"/>
            <a:ext cx="731876" cy="731876"/>
          </a:xfrm>
          <a:prstGeom prst="rect">
            <a:avLst/>
          </a:prstGeom>
        </p:spPr>
      </p:pic>
      <p:sp>
        <p:nvSpPr>
          <p:cNvPr id="56" name="ZoneTexte 55">
            <a:extLst>
              <a:ext uri="{FF2B5EF4-FFF2-40B4-BE49-F238E27FC236}">
                <a16:creationId xmlns:a16="http://schemas.microsoft.com/office/drawing/2014/main" id="{0590F635-A509-423B-BD53-AB99BD1B61D5}"/>
              </a:ext>
            </a:extLst>
          </p:cNvPr>
          <p:cNvSpPr txBox="1"/>
          <p:nvPr/>
        </p:nvSpPr>
        <p:spPr>
          <a:xfrm>
            <a:off x="9065500" y="1866521"/>
            <a:ext cx="187220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Analyse de spam</a:t>
            </a:r>
          </a:p>
        </p:txBody>
      </p:sp>
      <p:sp>
        <p:nvSpPr>
          <p:cNvPr id="57" name="ZoneTexte 56">
            <a:extLst>
              <a:ext uri="{FF2B5EF4-FFF2-40B4-BE49-F238E27FC236}">
                <a16:creationId xmlns:a16="http://schemas.microsoft.com/office/drawing/2014/main" id="{3992E936-F0F4-4FA5-B96D-1DF8F6E4DBAC}"/>
              </a:ext>
            </a:extLst>
          </p:cNvPr>
          <p:cNvSpPr txBox="1"/>
          <p:nvPr/>
        </p:nvSpPr>
        <p:spPr>
          <a:xfrm>
            <a:off x="5535042" y="1849167"/>
            <a:ext cx="22761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Analyse de sentiment</a:t>
            </a:r>
          </a:p>
        </p:txBody>
      </p:sp>
      <p:pic>
        <p:nvPicPr>
          <p:cNvPr id="59" name="Image 58">
            <a:extLst>
              <a:ext uri="{FF2B5EF4-FFF2-40B4-BE49-F238E27FC236}">
                <a16:creationId xmlns:a16="http://schemas.microsoft.com/office/drawing/2014/main" id="{0FA35286-A15E-4F77-904E-67FAD6FB7F1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8673" y="1119256"/>
            <a:ext cx="635009" cy="635009"/>
          </a:xfrm>
          <a:prstGeom prst="rect">
            <a:avLst/>
          </a:prstGeom>
        </p:spPr>
      </p:pic>
      <p:sp>
        <p:nvSpPr>
          <p:cNvPr id="63" name="ZoneTexte 62">
            <a:extLst>
              <a:ext uri="{FF2B5EF4-FFF2-40B4-BE49-F238E27FC236}">
                <a16:creationId xmlns:a16="http://schemas.microsoft.com/office/drawing/2014/main" id="{7F504D53-E785-495F-929C-11C91298386B}"/>
              </a:ext>
            </a:extLst>
          </p:cNvPr>
          <p:cNvSpPr txBox="1"/>
          <p:nvPr/>
        </p:nvSpPr>
        <p:spPr>
          <a:xfrm>
            <a:off x="2551636" y="3241288"/>
            <a:ext cx="720071" cy="646334"/>
          </a:xfrm>
          <a:prstGeom prst="rect">
            <a:avLst/>
          </a:prstGeom>
          <a:noFill/>
          <a:ln cap="flat">
            <a:noFill/>
          </a:ln>
        </p:spPr>
        <p:txBody>
          <a:bodyPr vert="horz" wrap="none" lIns="91440" tIns="45720" rIns="91440" bIns="45720" anchor="t" anchorCtr="1" compatLnSpc="1">
            <a:sp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fr-FR" sz="12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</a:rPr>
              <a:t>Corpus</a:t>
            </a:r>
          </a:p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fr-FR" sz="12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</a:rPr>
              <a:t>de docs</a:t>
            </a:r>
          </a:p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fr-FR" sz="12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</a:rPr>
              <a:t>labélisés</a:t>
            </a:r>
          </a:p>
        </p:txBody>
      </p:sp>
      <p:pic>
        <p:nvPicPr>
          <p:cNvPr id="64" name="Image 9">
            <a:extLst>
              <a:ext uri="{FF2B5EF4-FFF2-40B4-BE49-F238E27FC236}">
                <a16:creationId xmlns:a16="http://schemas.microsoft.com/office/drawing/2014/main" id="{4E57FA85-FC90-404D-8A65-457FF15CF99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492776" y="3943566"/>
            <a:ext cx="778931" cy="778931"/>
          </a:xfrm>
          <a:prstGeom prst="rect">
            <a:avLst/>
          </a:prstGeom>
          <a:noFill/>
          <a:ln cap="flat">
            <a:noFill/>
          </a:ln>
        </p:spPr>
      </p:pic>
      <p:cxnSp>
        <p:nvCxnSpPr>
          <p:cNvPr id="65" name="Connecteur droit avec flèche 26">
            <a:extLst>
              <a:ext uri="{FF2B5EF4-FFF2-40B4-BE49-F238E27FC236}">
                <a16:creationId xmlns:a16="http://schemas.microsoft.com/office/drawing/2014/main" id="{FFEDBE15-415D-48C9-BD2A-3BC8F41C78DE}"/>
              </a:ext>
            </a:extLst>
          </p:cNvPr>
          <p:cNvCxnSpPr>
            <a:cxnSpLocks/>
          </p:cNvCxnSpPr>
          <p:nvPr/>
        </p:nvCxnSpPr>
        <p:spPr>
          <a:xfrm flipV="1">
            <a:off x="3427138" y="3791824"/>
            <a:ext cx="918981" cy="389266"/>
          </a:xfrm>
          <a:prstGeom prst="straightConnector1">
            <a:avLst/>
          </a:prstGeom>
          <a:noFill/>
          <a:ln w="38103" cap="flat">
            <a:solidFill>
              <a:srgbClr val="4472C4"/>
            </a:solidFill>
            <a:prstDash val="solid"/>
            <a:miter/>
            <a:tailEnd type="arrow"/>
          </a:ln>
        </p:spPr>
      </p:cxnSp>
      <p:cxnSp>
        <p:nvCxnSpPr>
          <p:cNvPr id="66" name="Connecteur droit avec flèche 30">
            <a:extLst>
              <a:ext uri="{FF2B5EF4-FFF2-40B4-BE49-F238E27FC236}">
                <a16:creationId xmlns:a16="http://schemas.microsoft.com/office/drawing/2014/main" id="{C0D8F1C3-F3CD-4F8B-B920-0784C759B4D1}"/>
              </a:ext>
            </a:extLst>
          </p:cNvPr>
          <p:cNvCxnSpPr/>
          <p:nvPr/>
        </p:nvCxnSpPr>
        <p:spPr>
          <a:xfrm>
            <a:off x="3436149" y="4657908"/>
            <a:ext cx="918981" cy="538398"/>
          </a:xfrm>
          <a:prstGeom prst="straightConnector1">
            <a:avLst/>
          </a:prstGeom>
          <a:noFill/>
          <a:ln w="38103" cap="flat">
            <a:solidFill>
              <a:srgbClr val="4472C4"/>
            </a:solidFill>
            <a:prstDash val="solid"/>
            <a:miter/>
            <a:tailEnd type="arrow"/>
          </a:ln>
        </p:spPr>
      </p:cxnSp>
      <p:sp>
        <p:nvSpPr>
          <p:cNvPr id="67" name="ZoneTexte 5">
            <a:extLst>
              <a:ext uri="{FF2B5EF4-FFF2-40B4-BE49-F238E27FC236}">
                <a16:creationId xmlns:a16="http://schemas.microsoft.com/office/drawing/2014/main" id="{CDB53F67-1CD7-4744-9099-A9C57E4D011F}"/>
              </a:ext>
            </a:extLst>
          </p:cNvPr>
          <p:cNvSpPr txBox="1"/>
          <p:nvPr/>
        </p:nvSpPr>
        <p:spPr>
          <a:xfrm>
            <a:off x="4446794" y="5551418"/>
            <a:ext cx="875236" cy="646334"/>
          </a:xfrm>
          <a:prstGeom prst="rect">
            <a:avLst/>
          </a:prstGeom>
          <a:noFill/>
          <a:ln cap="flat">
            <a:noFill/>
          </a:ln>
        </p:spPr>
        <p:txBody>
          <a:bodyPr vert="horz" wrap="none" lIns="91440" tIns="45720" rIns="91440" bIns="45720" anchor="t" anchorCtr="1" compatLnSpc="1">
            <a:sp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fr-FR" sz="12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</a:rPr>
              <a:t>Echantillon</a:t>
            </a:r>
          </a:p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fr-FR" sz="12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</a:rPr>
              <a:t>« Test »</a:t>
            </a:r>
          </a:p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fr-FR" sz="1200" b="0" i="0" u="none" strike="noStrike" kern="1200" cap="none" spc="0" baseline="0">
                <a:solidFill>
                  <a:srgbClr val="FFFFFF"/>
                </a:solidFill>
                <a:uFillTx/>
                <a:latin typeface="Raleway" pitchFamily="34"/>
              </a:rPr>
              <a:t>~</a:t>
            </a:r>
            <a:r>
              <a:rPr lang="fr-FR" sz="12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</a:rPr>
              <a:t>20%</a:t>
            </a:r>
          </a:p>
        </p:txBody>
      </p:sp>
      <p:sp>
        <p:nvSpPr>
          <p:cNvPr id="68" name="ZoneTexte 6">
            <a:extLst>
              <a:ext uri="{FF2B5EF4-FFF2-40B4-BE49-F238E27FC236}">
                <a16:creationId xmlns:a16="http://schemas.microsoft.com/office/drawing/2014/main" id="{C3EA1BBA-D6EE-4324-9EEC-2CA2CDA51694}"/>
              </a:ext>
            </a:extLst>
          </p:cNvPr>
          <p:cNvSpPr txBox="1"/>
          <p:nvPr/>
        </p:nvSpPr>
        <p:spPr>
          <a:xfrm>
            <a:off x="4446291" y="2604299"/>
            <a:ext cx="875236" cy="646334"/>
          </a:xfrm>
          <a:prstGeom prst="rect">
            <a:avLst/>
          </a:prstGeom>
          <a:noFill/>
          <a:ln cap="flat">
            <a:noFill/>
          </a:ln>
        </p:spPr>
        <p:txBody>
          <a:bodyPr vert="horz" wrap="none" lIns="91440" tIns="45720" rIns="91440" bIns="45720" anchor="t" anchorCtr="1" compatLnSpc="1">
            <a:sp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fr-FR" sz="1200" b="0" i="0" u="none" strike="noStrike" kern="1200" cap="none" spc="0" baseline="0" dirty="0">
                <a:solidFill>
                  <a:srgbClr val="FFFFFF"/>
                </a:solidFill>
                <a:uFillTx/>
                <a:latin typeface="Calibri"/>
              </a:rPr>
              <a:t>Echantillon</a:t>
            </a:r>
          </a:p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fr-FR" sz="1200" b="0" i="0" u="none" strike="noStrike" kern="1200" cap="none" spc="0" baseline="0" dirty="0">
                <a:solidFill>
                  <a:srgbClr val="FFFFFF"/>
                </a:solidFill>
                <a:uFillTx/>
                <a:latin typeface="Calibri"/>
              </a:rPr>
              <a:t>« Train »</a:t>
            </a:r>
          </a:p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fr-FR" sz="1200" b="0" i="0" u="none" strike="noStrike" kern="1200" cap="none" spc="0" baseline="0" dirty="0">
                <a:solidFill>
                  <a:srgbClr val="FFFFFF"/>
                </a:solidFill>
                <a:uFillTx/>
                <a:latin typeface="Raleway" pitchFamily="34"/>
              </a:rPr>
              <a:t>~</a:t>
            </a:r>
            <a:r>
              <a:rPr lang="fr-FR" sz="1200" b="0" i="0" u="none" strike="noStrike" kern="1200" cap="none" spc="0" baseline="0" dirty="0">
                <a:solidFill>
                  <a:srgbClr val="FFFFFF"/>
                </a:solidFill>
                <a:uFillTx/>
                <a:latin typeface="Calibri"/>
              </a:rPr>
              <a:t>80%</a:t>
            </a:r>
          </a:p>
        </p:txBody>
      </p:sp>
      <p:pic>
        <p:nvPicPr>
          <p:cNvPr id="69" name="Image 10">
            <a:extLst>
              <a:ext uri="{FF2B5EF4-FFF2-40B4-BE49-F238E27FC236}">
                <a16:creationId xmlns:a16="http://schemas.microsoft.com/office/drawing/2014/main" id="{8514F91E-81DE-45F7-BD2D-6A0125B476F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446794" y="4806840"/>
            <a:ext cx="778931" cy="778931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70" name="Image 11">
            <a:extLst>
              <a:ext uri="{FF2B5EF4-FFF2-40B4-BE49-F238E27FC236}">
                <a16:creationId xmlns:a16="http://schemas.microsoft.com/office/drawing/2014/main" id="{7BCCD243-573B-4745-89DB-778CDFCE7E1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446794" y="3241288"/>
            <a:ext cx="778931" cy="778931"/>
          </a:xfrm>
          <a:prstGeom prst="rect">
            <a:avLst/>
          </a:prstGeom>
          <a:noFill/>
          <a:ln cap="flat">
            <a:noFill/>
          </a:ln>
        </p:spPr>
      </p:pic>
      <p:cxnSp>
        <p:nvCxnSpPr>
          <p:cNvPr id="73" name="Connecteur droit avec flèche 34">
            <a:extLst>
              <a:ext uri="{FF2B5EF4-FFF2-40B4-BE49-F238E27FC236}">
                <a16:creationId xmlns:a16="http://schemas.microsoft.com/office/drawing/2014/main" id="{8EB795F0-0C38-4C0E-AA23-09A4FF9AED62}"/>
              </a:ext>
            </a:extLst>
          </p:cNvPr>
          <p:cNvCxnSpPr>
            <a:cxnSpLocks/>
          </p:cNvCxnSpPr>
          <p:nvPr/>
        </p:nvCxnSpPr>
        <p:spPr>
          <a:xfrm>
            <a:off x="5453469" y="3619328"/>
            <a:ext cx="642531" cy="0"/>
          </a:xfrm>
          <a:prstGeom prst="straightConnector1">
            <a:avLst/>
          </a:prstGeom>
          <a:noFill/>
          <a:ln w="38103" cap="flat">
            <a:solidFill>
              <a:srgbClr val="4472C4"/>
            </a:solidFill>
            <a:prstDash val="solid"/>
            <a:miter/>
            <a:tailEnd type="arrow"/>
          </a:ln>
        </p:spPr>
      </p:cxnSp>
      <p:cxnSp>
        <p:nvCxnSpPr>
          <p:cNvPr id="74" name="Connecteur droit avec flèche 37">
            <a:extLst>
              <a:ext uri="{FF2B5EF4-FFF2-40B4-BE49-F238E27FC236}">
                <a16:creationId xmlns:a16="http://schemas.microsoft.com/office/drawing/2014/main" id="{23E0B769-0C15-4A2F-A14F-27F469D45B1C}"/>
              </a:ext>
            </a:extLst>
          </p:cNvPr>
          <p:cNvCxnSpPr>
            <a:cxnSpLocks/>
          </p:cNvCxnSpPr>
          <p:nvPr/>
        </p:nvCxnSpPr>
        <p:spPr>
          <a:xfrm>
            <a:off x="5453469" y="5754945"/>
            <a:ext cx="642531" cy="0"/>
          </a:xfrm>
          <a:prstGeom prst="straightConnector1">
            <a:avLst/>
          </a:prstGeom>
          <a:noFill/>
          <a:ln w="38103" cap="flat">
            <a:solidFill>
              <a:srgbClr val="4472C4"/>
            </a:solidFill>
            <a:prstDash val="solid"/>
            <a:miter/>
            <a:tailEnd type="arrow"/>
          </a:ln>
        </p:spPr>
      </p:cxnSp>
      <p:pic>
        <p:nvPicPr>
          <p:cNvPr id="75" name="Image 9">
            <a:extLst>
              <a:ext uri="{FF2B5EF4-FFF2-40B4-BE49-F238E27FC236}">
                <a16:creationId xmlns:a16="http://schemas.microsoft.com/office/drawing/2014/main" id="{78937F8C-7F2B-4C5D-9DA1-6A8ADE8505F7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 l="47451" t="41865" r="31967" b="29125"/>
          <a:stretch>
            <a:fillRect/>
          </a:stretch>
        </p:blipFill>
        <p:spPr>
          <a:xfrm>
            <a:off x="6185717" y="3184549"/>
            <a:ext cx="1138254" cy="902467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76" name="ZoneTexte 12">
            <a:extLst>
              <a:ext uri="{FF2B5EF4-FFF2-40B4-BE49-F238E27FC236}">
                <a16:creationId xmlns:a16="http://schemas.microsoft.com/office/drawing/2014/main" id="{FEEE6D3A-7710-482A-91F1-5193953F633F}"/>
              </a:ext>
            </a:extLst>
          </p:cNvPr>
          <p:cNvSpPr txBox="1"/>
          <p:nvPr/>
        </p:nvSpPr>
        <p:spPr>
          <a:xfrm>
            <a:off x="5994755" y="2664847"/>
            <a:ext cx="1482843" cy="461665"/>
          </a:xfrm>
          <a:prstGeom prst="rect">
            <a:avLst/>
          </a:prstGeom>
          <a:noFill/>
          <a:ln cap="flat">
            <a:noFill/>
          </a:ln>
        </p:spPr>
        <p:txBody>
          <a:bodyPr vert="horz" wrap="none" lIns="91440" tIns="45720" rIns="91440" bIns="45720" anchor="t" anchorCtr="1" compatLnSpc="1">
            <a:sp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fr-FR" sz="1200" b="0" i="0" u="none" strike="noStrike" kern="1200" cap="none" spc="0" baseline="0" dirty="0">
                <a:solidFill>
                  <a:srgbClr val="FFFFFF"/>
                </a:solidFill>
                <a:uFillTx/>
                <a:latin typeface="Calibri"/>
              </a:rPr>
              <a:t>Formation du</a:t>
            </a:r>
          </a:p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fr-FR" sz="1200" b="0" i="0" u="none" strike="noStrike" kern="1200" cap="none" spc="0" baseline="0" dirty="0">
                <a:solidFill>
                  <a:srgbClr val="FFFFFF"/>
                </a:solidFill>
                <a:uFillTx/>
                <a:latin typeface="Calibri"/>
              </a:rPr>
              <a:t>Dictionnaire/matrice</a:t>
            </a:r>
          </a:p>
        </p:txBody>
      </p:sp>
      <p:pic>
        <p:nvPicPr>
          <p:cNvPr id="77" name="Image 9">
            <a:extLst>
              <a:ext uri="{FF2B5EF4-FFF2-40B4-BE49-F238E27FC236}">
                <a16:creationId xmlns:a16="http://schemas.microsoft.com/office/drawing/2014/main" id="{F73908AA-CA8C-4277-A6E4-387C206735E0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 l="47451" t="41865" r="31967" b="29125"/>
          <a:stretch>
            <a:fillRect/>
          </a:stretch>
        </p:blipFill>
        <p:spPr>
          <a:xfrm>
            <a:off x="6185717" y="5287510"/>
            <a:ext cx="1138254" cy="902467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78" name="ZoneTexte 16">
            <a:extLst>
              <a:ext uri="{FF2B5EF4-FFF2-40B4-BE49-F238E27FC236}">
                <a16:creationId xmlns:a16="http://schemas.microsoft.com/office/drawing/2014/main" id="{A08AEC1E-EB35-4C1F-857E-4C8746CA23FC}"/>
              </a:ext>
            </a:extLst>
          </p:cNvPr>
          <p:cNvSpPr txBox="1"/>
          <p:nvPr/>
        </p:nvSpPr>
        <p:spPr>
          <a:xfrm>
            <a:off x="5849680" y="6159605"/>
            <a:ext cx="1810327" cy="646331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1" compatLnSpc="1">
            <a:sp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fr-FR" sz="1200" b="0" i="0" u="none" strike="noStrike" kern="1200" cap="none" spc="0" baseline="0" dirty="0">
                <a:solidFill>
                  <a:srgbClr val="FFFFFF"/>
                </a:solidFill>
                <a:uFillTx/>
                <a:latin typeface="Calibri"/>
              </a:rPr>
              <a:t>Formation du</a:t>
            </a:r>
          </a:p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fr-FR" sz="1200" b="0" i="0" u="none" strike="noStrike" kern="1200" cap="none" spc="0" baseline="0" dirty="0">
                <a:solidFill>
                  <a:srgbClr val="FFFFFF"/>
                </a:solidFill>
                <a:uFillTx/>
                <a:latin typeface="Calibri"/>
              </a:rPr>
              <a:t>Dictionnaire/matrice</a:t>
            </a:r>
          </a:p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fr-FR" sz="1200" b="0" i="0" u="none" strike="noStrike" kern="1200" cap="none" spc="0" baseline="0" dirty="0">
                <a:solidFill>
                  <a:srgbClr val="FFFFFF"/>
                </a:solidFill>
                <a:uFillTx/>
                <a:latin typeface="Calibri"/>
              </a:rPr>
              <a:t>(Sans label)</a:t>
            </a:r>
          </a:p>
        </p:txBody>
      </p:sp>
      <p:cxnSp>
        <p:nvCxnSpPr>
          <p:cNvPr id="79" name="Connecteur droit avec flèche 34">
            <a:extLst>
              <a:ext uri="{FF2B5EF4-FFF2-40B4-BE49-F238E27FC236}">
                <a16:creationId xmlns:a16="http://schemas.microsoft.com/office/drawing/2014/main" id="{959BFE73-F4F1-49E3-B8A9-30DEFFB95E60}"/>
              </a:ext>
            </a:extLst>
          </p:cNvPr>
          <p:cNvCxnSpPr>
            <a:cxnSpLocks/>
          </p:cNvCxnSpPr>
          <p:nvPr/>
        </p:nvCxnSpPr>
        <p:spPr>
          <a:xfrm>
            <a:off x="7477598" y="3619328"/>
            <a:ext cx="642531" cy="0"/>
          </a:xfrm>
          <a:prstGeom prst="straightConnector1">
            <a:avLst/>
          </a:prstGeom>
          <a:noFill/>
          <a:ln w="38103" cap="flat">
            <a:solidFill>
              <a:srgbClr val="4472C4"/>
            </a:solidFill>
            <a:prstDash val="solid"/>
            <a:miter/>
            <a:tailEnd type="arrow"/>
          </a:ln>
        </p:spPr>
      </p:cxnSp>
      <p:cxnSp>
        <p:nvCxnSpPr>
          <p:cNvPr id="80" name="Connecteur droit avec flèche 37">
            <a:extLst>
              <a:ext uri="{FF2B5EF4-FFF2-40B4-BE49-F238E27FC236}">
                <a16:creationId xmlns:a16="http://schemas.microsoft.com/office/drawing/2014/main" id="{8EF56B28-3959-4965-B900-9E60EE01ED6A}"/>
              </a:ext>
            </a:extLst>
          </p:cNvPr>
          <p:cNvCxnSpPr>
            <a:cxnSpLocks/>
          </p:cNvCxnSpPr>
          <p:nvPr/>
        </p:nvCxnSpPr>
        <p:spPr>
          <a:xfrm>
            <a:off x="7477598" y="5754945"/>
            <a:ext cx="642531" cy="0"/>
          </a:xfrm>
          <a:prstGeom prst="straightConnector1">
            <a:avLst/>
          </a:prstGeom>
          <a:noFill/>
          <a:ln w="38103" cap="flat">
            <a:solidFill>
              <a:srgbClr val="4472C4"/>
            </a:solidFill>
            <a:prstDash val="solid"/>
            <a:miter/>
            <a:tailEnd type="arrow"/>
          </a:ln>
        </p:spPr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81" name="ZoneTexte 13">
                <a:extLst>
                  <a:ext uri="{FF2B5EF4-FFF2-40B4-BE49-F238E27FC236}">
                    <a16:creationId xmlns:a16="http://schemas.microsoft.com/office/drawing/2014/main" id="{EC8D973E-66BC-48AB-83C4-C05A36320AFB}"/>
                  </a:ext>
                </a:extLst>
              </p:cNvPr>
              <p:cNvSpPr txBox="1"/>
              <p:nvPr/>
            </p:nvSpPr>
            <p:spPr>
              <a:xfrm>
                <a:off x="8444070" y="3397588"/>
                <a:ext cx="1050160" cy="307777"/>
              </a:xfrm>
              <a:prstGeom prst="rect">
                <a:avLst/>
              </a:prstGeom>
              <a:noFill/>
              <a:ln cap="flat">
                <a:noFill/>
              </a:ln>
            </p:spPr>
            <p:txBody>
              <a:bodyPr vert="horz" wrap="square" lIns="0" tIns="0" rIns="0" bIns="0" anchor="t" anchorCtr="0" compatLnSpc="1">
                <a:sp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14:m>
                  <m:oMath xmlns:m="http://schemas.openxmlformats.org/officeDocument/2006/math">
                    <m:r>
                      <a:rPr lang="fr-FR" b="1" i="1" smtClean="0">
                        <a:solidFill>
                          <a:srgbClr val="FF0000"/>
                        </a:solidFill>
                        <a:latin typeface="Cambria Math" panose="02040503050406030204" pitchFamily="18" charset="0"/>
                      </a:rPr>
                      <m:t>𝒇</m:t>
                    </m:r>
                    <m:d>
                      <m:dPr>
                        <m:ctrlPr>
                          <a:rPr lang="fr-FR" b="1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fr-FR" b="1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𝑿</m:t>
                        </m:r>
                      </m:e>
                    </m:d>
                    <m:r>
                      <a:rPr lang="fr-FR" b="0" i="0">
                        <a:solidFill>
                          <a:srgbClr val="FF0000"/>
                        </a:solidFill>
                        <a:latin typeface="Cambria Math" panose="02040503050406030204" pitchFamily="18" charset="0"/>
                      </a:rPr>
                      <m:t>→</m:t>
                    </m:r>
                    <m:r>
                      <a:rPr lang="fr-FR" b="1" i="1">
                        <a:solidFill>
                          <a:srgbClr val="FF0000"/>
                        </a:solidFill>
                        <a:latin typeface="Cambria Math" panose="02040503050406030204" pitchFamily="18" charset="0"/>
                      </a:rPr>
                      <m:t>𝒀</m:t>
                    </m:r>
                  </m:oMath>
                </a14:m>
                <a:r>
                  <a:rPr lang="fr-FR" sz="2000" b="1" i="0" u="none" strike="noStrike" kern="1200" cap="none" spc="0" baseline="0" dirty="0">
                    <a:solidFill>
                      <a:srgbClr val="FF0000"/>
                    </a:solidFill>
                    <a:uFillTx/>
                    <a:latin typeface="Calibri"/>
                  </a:rPr>
                  <a:t> </a:t>
                </a:r>
              </a:p>
            </p:txBody>
          </p:sp>
        </mc:Choice>
        <mc:Fallback xmlns="">
          <p:sp>
            <p:nvSpPr>
              <p:cNvPr id="81" name="ZoneTexte 13">
                <a:extLst>
                  <a:ext uri="{FF2B5EF4-FFF2-40B4-BE49-F238E27FC236}">
                    <a16:creationId xmlns:a16="http://schemas.microsoft.com/office/drawing/2014/main" id="{EC8D973E-66BC-48AB-83C4-C05A36320AF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444070" y="3397588"/>
                <a:ext cx="1050160" cy="307777"/>
              </a:xfrm>
              <a:prstGeom prst="rect">
                <a:avLst/>
              </a:prstGeom>
              <a:blipFill>
                <a:blip r:embed="rId11"/>
                <a:stretch>
                  <a:fillRect l="-10465" b="-27451"/>
                </a:stretch>
              </a:blipFill>
              <a:ln cap="flat">
                <a:noFill/>
              </a:ln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2" name="ZoneTexte 14">
            <a:extLst>
              <a:ext uri="{FF2B5EF4-FFF2-40B4-BE49-F238E27FC236}">
                <a16:creationId xmlns:a16="http://schemas.microsoft.com/office/drawing/2014/main" id="{D1B2AE5C-C6D6-4D78-B63B-4C85CCF1DD02}"/>
              </a:ext>
            </a:extLst>
          </p:cNvPr>
          <p:cNvSpPr txBox="1"/>
          <p:nvPr/>
        </p:nvSpPr>
        <p:spPr>
          <a:xfrm>
            <a:off x="8172958" y="2905021"/>
            <a:ext cx="1585027" cy="46166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1" compatLnSpc="1">
            <a:sp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fr-FR" sz="1200" b="0" i="0" u="none" strike="noStrike" kern="1200" cap="none" spc="0" baseline="0" dirty="0">
                <a:solidFill>
                  <a:srgbClr val="FFFFFF"/>
                </a:solidFill>
                <a:uFillTx/>
                <a:latin typeface="Calibri"/>
              </a:rPr>
              <a:t>Apprentissage</a:t>
            </a:r>
            <a:r>
              <a:rPr lang="fr-FR" sz="1200" b="0" i="0" u="none" strike="noStrike" kern="1200" cap="none" spc="0" dirty="0">
                <a:solidFill>
                  <a:srgbClr val="FFFFFF"/>
                </a:solidFill>
                <a:uFillTx/>
                <a:latin typeface="Calibri"/>
              </a:rPr>
              <a:t> </a:t>
            </a:r>
            <a:r>
              <a:rPr lang="fr-FR" sz="1200" b="0" i="0" u="none" strike="noStrike" kern="1200" cap="none" spc="0" baseline="0" dirty="0">
                <a:solidFill>
                  <a:srgbClr val="FFFFFF"/>
                </a:solidFill>
                <a:uFillTx/>
                <a:latin typeface="Calibri"/>
              </a:rPr>
              <a:t>du</a:t>
            </a:r>
            <a:r>
              <a:rPr lang="fr-FR" sz="1200" dirty="0">
                <a:solidFill>
                  <a:srgbClr val="FFFFFF"/>
                </a:solidFill>
                <a:latin typeface="Calibri"/>
              </a:rPr>
              <a:t> </a:t>
            </a:r>
            <a:r>
              <a:rPr lang="fr-FR" sz="1200" b="0" i="0" u="none" strike="noStrike" kern="1200" cap="none" spc="0" baseline="0" dirty="0">
                <a:solidFill>
                  <a:srgbClr val="FFFFFF"/>
                </a:solidFill>
                <a:uFillTx/>
                <a:latin typeface="Calibri"/>
              </a:rPr>
              <a:t>modèle</a:t>
            </a:r>
          </a:p>
        </p:txBody>
      </p:sp>
      <p:pic>
        <p:nvPicPr>
          <p:cNvPr id="83" name="Image 17">
            <a:extLst>
              <a:ext uri="{FF2B5EF4-FFF2-40B4-BE49-F238E27FC236}">
                <a16:creationId xmlns:a16="http://schemas.microsoft.com/office/drawing/2014/main" id="{AC5B2551-CFDD-49B0-9B26-2206FB16DAF6}"/>
              </a:ext>
            </a:extLst>
          </p:cNvPr>
          <p:cNvPicPr>
            <a:picLocks noChangeAspect="1"/>
          </p:cNvPicPr>
          <p:nvPr/>
        </p:nvPicPr>
        <p:blipFill>
          <a:blip r:embed="rId12"/>
          <a:srcRect l="25757" t="64691" r="60417" b="24880"/>
          <a:stretch>
            <a:fillRect/>
          </a:stretch>
        </p:blipFill>
        <p:spPr>
          <a:xfrm>
            <a:off x="8244456" y="5389746"/>
            <a:ext cx="1523362" cy="646334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84" name="ZoneTexte 18">
            <a:extLst>
              <a:ext uri="{FF2B5EF4-FFF2-40B4-BE49-F238E27FC236}">
                <a16:creationId xmlns:a16="http://schemas.microsoft.com/office/drawing/2014/main" id="{86E45999-885B-4EB4-8B49-1D1F235360ED}"/>
              </a:ext>
            </a:extLst>
          </p:cNvPr>
          <p:cNvSpPr txBox="1"/>
          <p:nvPr/>
        </p:nvSpPr>
        <p:spPr>
          <a:xfrm>
            <a:off x="8172958" y="6159605"/>
            <a:ext cx="1655710" cy="461665"/>
          </a:xfrm>
          <a:prstGeom prst="rect">
            <a:avLst/>
          </a:prstGeom>
          <a:noFill/>
          <a:ln cap="flat">
            <a:noFill/>
          </a:ln>
        </p:spPr>
        <p:txBody>
          <a:bodyPr vert="horz" wrap="none" lIns="91440" tIns="45720" rIns="91440" bIns="45720" anchor="t" anchorCtr="1" compatLnSpc="1">
            <a:sp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fr-FR" sz="1200" b="0" i="0" u="none" strike="noStrike" kern="1200" cap="none" spc="0" baseline="0" dirty="0">
                <a:solidFill>
                  <a:srgbClr val="FFFFFF"/>
                </a:solidFill>
                <a:uFillTx/>
                <a:latin typeface="Calibri"/>
              </a:rPr>
              <a:t>Evaluation de</a:t>
            </a:r>
          </a:p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fr-FR" sz="1200" b="0" i="0" u="none" strike="noStrike" kern="1200" cap="none" spc="0" baseline="0" dirty="0">
                <a:solidFill>
                  <a:srgbClr val="FFFFFF"/>
                </a:solidFill>
                <a:uFillTx/>
                <a:latin typeface="Calibri"/>
              </a:rPr>
              <a:t>la crédibilité</a:t>
            </a:r>
            <a:r>
              <a:rPr lang="fr-FR" sz="1200" b="0" i="0" u="none" strike="noStrike" kern="1200" cap="none" spc="0" dirty="0">
                <a:solidFill>
                  <a:srgbClr val="FFFFFF"/>
                </a:solidFill>
                <a:uFillTx/>
                <a:latin typeface="Calibri"/>
              </a:rPr>
              <a:t> </a:t>
            </a:r>
            <a:r>
              <a:rPr lang="fr-FR" sz="1200" b="0" i="0" u="none" strike="noStrike" kern="1200" cap="none" spc="0" baseline="0" dirty="0">
                <a:solidFill>
                  <a:srgbClr val="FFFFFF"/>
                </a:solidFill>
                <a:uFillTx/>
                <a:latin typeface="Calibri"/>
              </a:rPr>
              <a:t>du modèle</a:t>
            </a:r>
          </a:p>
        </p:txBody>
      </p:sp>
      <p:cxnSp>
        <p:nvCxnSpPr>
          <p:cNvPr id="85" name="Connecteur droit avec flèche 52">
            <a:extLst>
              <a:ext uri="{FF2B5EF4-FFF2-40B4-BE49-F238E27FC236}">
                <a16:creationId xmlns:a16="http://schemas.microsoft.com/office/drawing/2014/main" id="{519596C1-09D4-4957-AE0B-24C7963E826A}"/>
              </a:ext>
            </a:extLst>
          </p:cNvPr>
          <p:cNvCxnSpPr/>
          <p:nvPr/>
        </p:nvCxnSpPr>
        <p:spPr>
          <a:xfrm>
            <a:off x="8974010" y="3904550"/>
            <a:ext cx="0" cy="1282026"/>
          </a:xfrm>
          <a:prstGeom prst="straightConnector1">
            <a:avLst/>
          </a:prstGeom>
          <a:noFill/>
          <a:ln w="38103" cap="flat">
            <a:solidFill>
              <a:srgbClr val="4472C4"/>
            </a:solidFill>
            <a:prstDash val="solid"/>
            <a:miter/>
            <a:tailEnd type="arrow"/>
          </a:ln>
        </p:spPr>
      </p:cxnSp>
      <p:sp>
        <p:nvSpPr>
          <p:cNvPr id="86" name="ZoneTexte 19">
            <a:extLst>
              <a:ext uri="{FF2B5EF4-FFF2-40B4-BE49-F238E27FC236}">
                <a16:creationId xmlns:a16="http://schemas.microsoft.com/office/drawing/2014/main" id="{7C9D5F3F-A3AE-42D6-A876-E3992E2A77E0}"/>
              </a:ext>
            </a:extLst>
          </p:cNvPr>
          <p:cNvSpPr txBox="1"/>
          <p:nvPr/>
        </p:nvSpPr>
        <p:spPr>
          <a:xfrm>
            <a:off x="11286521" y="2520374"/>
            <a:ext cx="811566" cy="461662"/>
          </a:xfrm>
          <a:prstGeom prst="rect">
            <a:avLst/>
          </a:prstGeom>
          <a:noFill/>
          <a:ln w="57150" cap="flat">
            <a:solidFill>
              <a:srgbClr val="000000"/>
            </a:solidFill>
            <a:prstDash val="solid"/>
            <a:miter/>
          </a:ln>
        </p:spPr>
        <p:txBody>
          <a:bodyPr vert="horz" wrap="none" lIns="91440" tIns="45720" rIns="91440" bIns="45720" anchor="t" anchorCtr="1" compatLnSpc="1">
            <a:sp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fr-FR" sz="1200" b="0" i="0" u="none" strike="noStrike" kern="1200" cap="none" spc="0" baseline="0" dirty="0">
                <a:solidFill>
                  <a:srgbClr val="FFFFFF"/>
                </a:solidFill>
                <a:uFillTx/>
                <a:latin typeface="Calibri"/>
              </a:rPr>
              <a:t>Nouveaux</a:t>
            </a:r>
          </a:p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fr-FR" sz="1200" b="0" i="0" u="none" strike="noStrike" kern="1200" cap="none" spc="0" baseline="0" dirty="0">
                <a:solidFill>
                  <a:srgbClr val="FFFFFF"/>
                </a:solidFill>
                <a:uFillTx/>
                <a:latin typeface="Calibri"/>
              </a:rPr>
              <a:t>inputs</a:t>
            </a:r>
          </a:p>
        </p:txBody>
      </p:sp>
      <p:pic>
        <p:nvPicPr>
          <p:cNvPr id="88" name="Image 20">
            <a:extLst>
              <a:ext uri="{FF2B5EF4-FFF2-40B4-BE49-F238E27FC236}">
                <a16:creationId xmlns:a16="http://schemas.microsoft.com/office/drawing/2014/main" id="{29A7BCF8-D7D9-4959-997A-1C547A9F77D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548037" y="2342839"/>
            <a:ext cx="778931" cy="778931"/>
          </a:xfrm>
          <a:prstGeom prst="rect">
            <a:avLst/>
          </a:prstGeom>
          <a:noFill/>
          <a:ln cap="flat">
            <a:noFill/>
          </a:ln>
        </p:spPr>
      </p:pic>
      <p:cxnSp>
        <p:nvCxnSpPr>
          <p:cNvPr id="89" name="Connecteur droit avec flèche 40">
            <a:extLst>
              <a:ext uri="{FF2B5EF4-FFF2-40B4-BE49-F238E27FC236}">
                <a16:creationId xmlns:a16="http://schemas.microsoft.com/office/drawing/2014/main" id="{B18BE36E-FB1E-49D4-9BB7-B0E53E9F3283}"/>
              </a:ext>
            </a:extLst>
          </p:cNvPr>
          <p:cNvCxnSpPr>
            <a:cxnSpLocks/>
          </p:cNvCxnSpPr>
          <p:nvPr/>
        </p:nvCxnSpPr>
        <p:spPr>
          <a:xfrm>
            <a:off x="10950797" y="3126512"/>
            <a:ext cx="0" cy="271906"/>
          </a:xfrm>
          <a:prstGeom prst="straightConnector1">
            <a:avLst/>
          </a:prstGeom>
          <a:noFill/>
          <a:ln w="38103" cap="flat">
            <a:solidFill>
              <a:srgbClr val="4472C4"/>
            </a:solidFill>
            <a:prstDash val="solid"/>
            <a:miter/>
            <a:tailEnd type="arrow"/>
          </a:ln>
        </p:spPr>
      </p:cxnSp>
      <p:pic>
        <p:nvPicPr>
          <p:cNvPr id="90" name="Image 9">
            <a:extLst>
              <a:ext uri="{FF2B5EF4-FFF2-40B4-BE49-F238E27FC236}">
                <a16:creationId xmlns:a16="http://schemas.microsoft.com/office/drawing/2014/main" id="{31A1BBBB-C236-4A09-8CA5-E7623DEBD6CA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 l="47451" t="41865" r="31967" b="29125"/>
          <a:stretch>
            <a:fillRect/>
          </a:stretch>
        </p:blipFill>
        <p:spPr>
          <a:xfrm>
            <a:off x="10397481" y="3445970"/>
            <a:ext cx="1138254" cy="902467"/>
          </a:xfrm>
          <a:prstGeom prst="rect">
            <a:avLst/>
          </a:prstGeom>
          <a:noFill/>
          <a:ln cap="flat">
            <a:noFill/>
          </a:ln>
        </p:spPr>
      </p:pic>
      <p:cxnSp>
        <p:nvCxnSpPr>
          <p:cNvPr id="91" name="Connecteur droit avec flèche 44">
            <a:extLst>
              <a:ext uri="{FF2B5EF4-FFF2-40B4-BE49-F238E27FC236}">
                <a16:creationId xmlns:a16="http://schemas.microsoft.com/office/drawing/2014/main" id="{66940633-9D3E-46E4-9D36-780467458574}"/>
              </a:ext>
            </a:extLst>
          </p:cNvPr>
          <p:cNvCxnSpPr>
            <a:cxnSpLocks/>
          </p:cNvCxnSpPr>
          <p:nvPr/>
        </p:nvCxnSpPr>
        <p:spPr>
          <a:xfrm flipH="1">
            <a:off x="10952999" y="4478255"/>
            <a:ext cx="13609" cy="324825"/>
          </a:xfrm>
          <a:prstGeom prst="straightConnector1">
            <a:avLst/>
          </a:prstGeom>
          <a:noFill/>
          <a:ln w="38103" cap="flat">
            <a:solidFill>
              <a:srgbClr val="4472C4"/>
            </a:solidFill>
            <a:prstDash val="solid"/>
            <a:miter/>
            <a:tailEnd type="arrow"/>
          </a:ln>
        </p:spPr>
      </p:cxnSp>
      <p:cxnSp>
        <p:nvCxnSpPr>
          <p:cNvPr id="92" name="Connecteur droit avec flèche 46">
            <a:extLst>
              <a:ext uri="{FF2B5EF4-FFF2-40B4-BE49-F238E27FC236}">
                <a16:creationId xmlns:a16="http://schemas.microsoft.com/office/drawing/2014/main" id="{7609AABB-5F1B-4B0D-A1A7-08B7AC996EA3}"/>
              </a:ext>
            </a:extLst>
          </p:cNvPr>
          <p:cNvCxnSpPr>
            <a:cxnSpLocks/>
          </p:cNvCxnSpPr>
          <p:nvPr/>
        </p:nvCxnSpPr>
        <p:spPr>
          <a:xfrm>
            <a:off x="9310974" y="3887622"/>
            <a:ext cx="985173" cy="1029889"/>
          </a:xfrm>
          <a:prstGeom prst="straightConnector1">
            <a:avLst/>
          </a:prstGeom>
          <a:noFill/>
          <a:ln w="38103" cap="flat">
            <a:solidFill>
              <a:srgbClr val="4472C4"/>
            </a:solidFill>
            <a:prstDash val="solid"/>
            <a:miter/>
            <a:tailEnd type="arrow"/>
          </a:ln>
        </p:spPr>
      </p:cxnSp>
      <p:pic>
        <p:nvPicPr>
          <p:cNvPr id="93" name="Image 48">
            <a:extLst>
              <a:ext uri="{FF2B5EF4-FFF2-40B4-BE49-F238E27FC236}">
                <a16:creationId xmlns:a16="http://schemas.microsoft.com/office/drawing/2014/main" id="{BBDB50C2-975F-4199-A6B5-653F6B735DC0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0321412" y="4810380"/>
            <a:ext cx="1290392" cy="1290392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94" name="ZoneTexte 50">
            <a:extLst>
              <a:ext uri="{FF2B5EF4-FFF2-40B4-BE49-F238E27FC236}">
                <a16:creationId xmlns:a16="http://schemas.microsoft.com/office/drawing/2014/main" id="{DE359873-03E8-414A-8F08-9AA10FC13259}"/>
              </a:ext>
            </a:extLst>
          </p:cNvPr>
          <p:cNvSpPr txBox="1"/>
          <p:nvPr/>
        </p:nvSpPr>
        <p:spPr>
          <a:xfrm>
            <a:off x="11408362" y="5195638"/>
            <a:ext cx="771241" cy="461662"/>
          </a:xfrm>
          <a:prstGeom prst="rect">
            <a:avLst/>
          </a:prstGeom>
          <a:noFill/>
          <a:ln cap="flat">
            <a:noFill/>
          </a:ln>
        </p:spPr>
        <p:txBody>
          <a:bodyPr vert="horz" wrap="none" lIns="91440" tIns="45720" rIns="91440" bIns="45720" anchor="t" anchorCtr="1" compatLnSpc="1">
            <a:sp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fr-FR" sz="1200" b="0" i="0" u="none" strike="noStrike" kern="1200" cap="none" spc="0" baseline="0" dirty="0">
                <a:solidFill>
                  <a:srgbClr val="FFFFFF"/>
                </a:solidFill>
                <a:uFillTx/>
                <a:latin typeface="Calibri"/>
              </a:rPr>
              <a:t>Textes</a:t>
            </a:r>
          </a:p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fr-FR" sz="1200" b="0" i="0" u="none" strike="noStrike" kern="1200" cap="none" spc="0" baseline="0" dirty="0">
                <a:solidFill>
                  <a:srgbClr val="FFFFFF"/>
                </a:solidFill>
                <a:uFillTx/>
                <a:latin typeface="Calibri"/>
              </a:rPr>
              <a:t>étiquetés</a:t>
            </a:r>
          </a:p>
        </p:txBody>
      </p:sp>
    </p:spTree>
    <p:extLst>
      <p:ext uri="{BB962C8B-B14F-4D97-AF65-F5344CB8AC3E}">
        <p14:creationId xmlns:p14="http://schemas.microsoft.com/office/powerpoint/2010/main" val="940080205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" fill="hold">
                      <p:stCondLst>
                        <p:cond delay="indefinite"/>
                      </p:stCondLst>
                      <p:childTnLst>
                        <p:par>
                          <p:cTn id="77" fill="hold">
                            <p:stCondLst>
                              <p:cond delay="0"/>
                            </p:stCondLst>
                            <p:childTnLst>
                              <p:par>
                                <p:cTn id="7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2" fill="hold">
                      <p:stCondLst>
                        <p:cond delay="indefinite"/>
                      </p:stCondLst>
                      <p:childTnLst>
                        <p:par>
                          <p:cTn id="83" fill="hold">
                            <p:stCondLst>
                              <p:cond delay="0"/>
                            </p:stCondLst>
                            <p:childTnLst>
                              <p:par>
                                <p:cTn id="8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0" fill="hold">
                      <p:stCondLst>
                        <p:cond delay="indefinite"/>
                      </p:stCondLst>
                      <p:childTnLst>
                        <p:par>
                          <p:cTn id="91" fill="hold">
                            <p:stCondLst>
                              <p:cond delay="0"/>
                            </p:stCondLst>
                            <p:childTnLst>
                              <p:par>
                                <p:cTn id="9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3" grpId="0"/>
      <p:bldP spid="67" grpId="0"/>
      <p:bldP spid="68" grpId="0"/>
      <p:bldP spid="76" grpId="0"/>
      <p:bldP spid="78" grpId="0"/>
      <p:bldP spid="81" grpId="0"/>
      <p:bldP spid="82" grpId="0"/>
      <p:bldP spid="84" grpId="0"/>
      <p:bldP spid="86" grpId="0" animBg="1"/>
      <p:bldP spid="94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9778D14-8845-4FB8-BB12-1F68B7686C2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17742AAE-5BCB-433E-96F0-68564AA6FCD0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F570B9A-2132-4B98-83A6-D75BEA1DE1CD}"/>
              </a:ext>
            </a:extLst>
          </p:cNvPr>
          <p:cNvSpPr/>
          <p:nvPr/>
        </p:nvSpPr>
        <p:spPr>
          <a:xfrm rot="505374">
            <a:off x="1290125" y="783655"/>
            <a:ext cx="45719" cy="6104049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ADFEE18B-16CB-4F9E-BD4A-6E9EB8C267C2}"/>
              </a:ext>
            </a:extLst>
          </p:cNvPr>
          <p:cNvSpPr/>
          <p:nvPr/>
        </p:nvSpPr>
        <p:spPr>
          <a:xfrm>
            <a:off x="1067072" y="1530897"/>
            <a:ext cx="1000267" cy="1000267"/>
          </a:xfrm>
          <a:prstGeom prst="ellipse">
            <a:avLst/>
          </a:prstGeom>
          <a:solidFill>
            <a:schemeClr val="tx2">
              <a:lumMod val="5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4400" dirty="0"/>
              <a:t>1</a:t>
            </a:r>
            <a:endParaRPr lang="fr-FR" dirty="0"/>
          </a:p>
        </p:txBody>
      </p:sp>
      <p:sp>
        <p:nvSpPr>
          <p:cNvPr id="11" name="Ellipse 10">
            <a:extLst>
              <a:ext uri="{FF2B5EF4-FFF2-40B4-BE49-F238E27FC236}">
                <a16:creationId xmlns:a16="http://schemas.microsoft.com/office/drawing/2014/main" id="{38762588-9E83-43C1-A3D7-58811BE840BB}"/>
              </a:ext>
            </a:extLst>
          </p:cNvPr>
          <p:cNvSpPr/>
          <p:nvPr/>
        </p:nvSpPr>
        <p:spPr>
          <a:xfrm>
            <a:off x="1046788" y="3281694"/>
            <a:ext cx="596348" cy="596348"/>
          </a:xfrm>
          <a:prstGeom prst="ellipse">
            <a:avLst/>
          </a:prstGeom>
          <a:solidFill>
            <a:schemeClr val="tx2">
              <a:lumMod val="5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39D5F08C-3F3A-4C11-9269-9A3465FA0747}"/>
              </a:ext>
            </a:extLst>
          </p:cNvPr>
          <p:cNvSpPr/>
          <p:nvPr/>
        </p:nvSpPr>
        <p:spPr>
          <a:xfrm>
            <a:off x="801215" y="4853946"/>
            <a:ext cx="596348" cy="596348"/>
          </a:xfrm>
          <a:prstGeom prst="ellipse">
            <a:avLst/>
          </a:prstGeom>
          <a:solidFill>
            <a:schemeClr val="tx2">
              <a:lumMod val="5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Ellipse 12">
            <a:extLst>
              <a:ext uri="{FF2B5EF4-FFF2-40B4-BE49-F238E27FC236}">
                <a16:creationId xmlns:a16="http://schemas.microsoft.com/office/drawing/2014/main" id="{86D5B5F8-020D-4622-B97A-0A1905D431A4}"/>
              </a:ext>
            </a:extLst>
          </p:cNvPr>
          <p:cNvSpPr/>
          <p:nvPr/>
        </p:nvSpPr>
        <p:spPr>
          <a:xfrm>
            <a:off x="977354" y="1438136"/>
            <a:ext cx="1182752" cy="1182752"/>
          </a:xfrm>
          <a:prstGeom prst="ellips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7D6485DA-8B9C-4E00-B5C8-62A8D11E6307}"/>
              </a:ext>
            </a:extLst>
          </p:cNvPr>
          <p:cNvSpPr txBox="1"/>
          <p:nvPr/>
        </p:nvSpPr>
        <p:spPr>
          <a:xfrm>
            <a:off x="2249824" y="1675569"/>
            <a:ext cx="994217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4000" dirty="0">
                <a:solidFill>
                  <a:schemeClr val="bg1"/>
                </a:solidFill>
                <a:latin typeface="Reem Kufi Regular"/>
              </a:rPr>
              <a:t>Présentation du projet</a:t>
            </a:r>
            <a:endParaRPr lang="fr-FR" sz="40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27D19A-C2E1-4390-B8F2-E28EE5020D7E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1CA9BCBD-FF07-4A26-BB45-E1EF158A9E76}"/>
              </a:ext>
            </a:extLst>
          </p:cNvPr>
          <p:cNvSpPr txBox="1"/>
          <p:nvPr/>
        </p:nvSpPr>
        <p:spPr>
          <a:xfrm>
            <a:off x="1782654" y="4890510"/>
            <a:ext cx="90441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800" dirty="0">
                <a:solidFill>
                  <a:schemeClr val="bg1"/>
                </a:solidFill>
                <a:latin typeface="Reem Kufi Regular"/>
              </a:rPr>
              <a:t>Bilan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0353C809-0DB4-4195-AB4B-3B565443A1CB}"/>
              </a:ext>
            </a:extLst>
          </p:cNvPr>
          <p:cNvSpPr txBox="1"/>
          <p:nvPr/>
        </p:nvSpPr>
        <p:spPr>
          <a:xfrm>
            <a:off x="2026067" y="3358387"/>
            <a:ext cx="319959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800" dirty="0">
                <a:solidFill>
                  <a:schemeClr val="bg1"/>
                </a:solidFill>
                <a:latin typeface="Reem Kufi Regular"/>
              </a:rPr>
              <a:t>Démarche employé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0B3C5A7-3292-4F8B-842E-C9C97C43BE51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SOMMAIRE</a:t>
            </a:r>
          </a:p>
        </p:txBody>
      </p:sp>
    </p:spTree>
    <p:extLst>
      <p:ext uri="{BB962C8B-B14F-4D97-AF65-F5344CB8AC3E}">
        <p14:creationId xmlns:p14="http://schemas.microsoft.com/office/powerpoint/2010/main" val="3156098846"/>
      </p:ext>
    </p:extLst>
  </p:cSld>
  <p:clrMapOvr>
    <a:masterClrMapping/>
  </p:clrMapOvr>
  <p:transition spd="slow"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C401337-C7CB-41A6-8CE0-3585D7CA23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3CF5856C-2DCC-4224-858C-F72B9191D8C8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F265E1-D21D-4CB3-BB3B-268924D2495C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3F4D2D-2973-4ACC-B192-B9B9C062B26E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Démarche employée</a:t>
            </a:r>
            <a:endParaRPr lang="fr-FR" sz="4400" b="1" dirty="0">
              <a:solidFill>
                <a:schemeClr val="bg1"/>
              </a:solidFill>
            </a:endParaRP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99184F4E-E786-41F7-8FF2-DF0C64D502E1}"/>
              </a:ext>
            </a:extLst>
          </p:cNvPr>
          <p:cNvGrpSpPr/>
          <p:nvPr/>
        </p:nvGrpSpPr>
        <p:grpSpPr>
          <a:xfrm>
            <a:off x="81856" y="6071877"/>
            <a:ext cx="731876" cy="696657"/>
            <a:chOff x="81856" y="6268713"/>
            <a:chExt cx="536895" cy="499821"/>
          </a:xfrm>
        </p:grpSpPr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id="{300700A6-66DC-4417-9777-770A67377095}"/>
                </a:ext>
              </a:extLst>
            </p:cNvPr>
            <p:cNvSpPr/>
            <p:nvPr/>
          </p:nvSpPr>
          <p:spPr>
            <a:xfrm>
              <a:off x="152777" y="6331654"/>
              <a:ext cx="395052" cy="371527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/>
                <a:t>12</a:t>
              </a:r>
              <a:endParaRPr lang="fr-FR" sz="700" dirty="0"/>
            </a:p>
          </p:txBody>
        </p:sp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BD9E1393-A259-4000-9F24-9578D1A470BF}"/>
                </a:ext>
              </a:extLst>
            </p:cNvPr>
            <p:cNvSpPr/>
            <p:nvPr/>
          </p:nvSpPr>
          <p:spPr>
            <a:xfrm>
              <a:off x="81856" y="6268713"/>
              <a:ext cx="536895" cy="499821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87" name="Picture 8" descr="Image associÃ©e">
            <a:extLst>
              <a:ext uri="{FF2B5EF4-FFF2-40B4-BE49-F238E27FC236}">
                <a16:creationId xmlns:a16="http://schemas.microsoft.com/office/drawing/2014/main" id="{0090572A-2667-48E1-A1CE-342BF56B96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1672" y="6161343"/>
            <a:ext cx="1810327" cy="69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ZoneTexte 46">
            <a:extLst>
              <a:ext uri="{FF2B5EF4-FFF2-40B4-BE49-F238E27FC236}">
                <a16:creationId xmlns:a16="http://schemas.microsoft.com/office/drawing/2014/main" id="{35EC63A0-A045-400D-9A7E-1AF94C5EDCE3}"/>
              </a:ext>
            </a:extLst>
          </p:cNvPr>
          <p:cNvSpPr txBox="1"/>
          <p:nvPr/>
        </p:nvSpPr>
        <p:spPr>
          <a:xfrm>
            <a:off x="221672" y="1300870"/>
            <a:ext cx="2102489" cy="1335276"/>
          </a:xfrm>
          <a:prstGeom prst="rect">
            <a:avLst/>
          </a:prstGeom>
          <a:noFill/>
        </p:spPr>
        <p:txBody>
          <a:bodyPr wrap="square" lIns="103163" tIns="51581" rIns="103163" bIns="51581" rtlCol="0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1/ </a:t>
            </a:r>
            <a:r>
              <a:rPr lang="fr-FR" sz="1000" b="1" u="sng" dirty="0">
                <a:solidFill>
                  <a:schemeClr val="bg1"/>
                </a:solidFill>
                <a:latin typeface="Reem Kufi Regular"/>
              </a:rPr>
              <a:t>Présentation du projet</a:t>
            </a:r>
          </a:p>
          <a:p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Context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Problémat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Objectifs</a:t>
            </a:r>
          </a:p>
          <a:p>
            <a:pPr marL="226958" lvl="1"/>
            <a:r>
              <a:rPr lang="fr-FR" sz="1000" dirty="0">
                <a:solidFill>
                  <a:schemeClr val="bg1"/>
                </a:solidFill>
              </a:rPr>
              <a:t>  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FC979EDB-05FB-4D1F-ADF4-867969F21A2E}"/>
              </a:ext>
            </a:extLst>
          </p:cNvPr>
          <p:cNvSpPr/>
          <p:nvPr/>
        </p:nvSpPr>
        <p:spPr>
          <a:xfrm>
            <a:off x="215033" y="2693441"/>
            <a:ext cx="2173758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rgbClr val="FF0000"/>
                </a:solidFill>
              </a:rPr>
              <a:t>2/Démarche employée</a:t>
            </a:r>
          </a:p>
          <a:p>
            <a:endParaRPr lang="fr-FR" sz="1000" b="1" u="sng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Grande ligne du projet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Moteur de recherche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rgbClr val="FF0000"/>
                </a:solidFill>
              </a:rPr>
              <a:t>Les applications utilisant le machine Learning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50E00549-4D24-40B6-AE29-0024A82AE604}"/>
              </a:ext>
            </a:extLst>
          </p:cNvPr>
          <p:cNvSpPr/>
          <p:nvPr/>
        </p:nvSpPr>
        <p:spPr>
          <a:xfrm>
            <a:off x="221673" y="4047368"/>
            <a:ext cx="2167118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3/ Bilan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Techn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Personnel</a:t>
            </a:r>
          </a:p>
        </p:txBody>
      </p:sp>
      <p:sp>
        <p:nvSpPr>
          <p:cNvPr id="50" name="ZoneTexte 49">
            <a:extLst>
              <a:ext uri="{FF2B5EF4-FFF2-40B4-BE49-F238E27FC236}">
                <a16:creationId xmlns:a16="http://schemas.microsoft.com/office/drawing/2014/main" id="{D16B01F4-FB60-45E2-8972-DC5F7BE6F3C4}"/>
              </a:ext>
            </a:extLst>
          </p:cNvPr>
          <p:cNvSpPr txBox="1"/>
          <p:nvPr/>
        </p:nvSpPr>
        <p:spPr>
          <a:xfrm>
            <a:off x="2395433" y="1512555"/>
            <a:ext cx="918594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Outils utilisés:</a:t>
            </a:r>
          </a:p>
        </p:txBody>
      </p:sp>
      <p:pic>
        <p:nvPicPr>
          <p:cNvPr id="5122" name="Picture 2" descr="RÃ©sultat de recherche d'images pour &quot;sklearn&quot;">
            <a:extLst>
              <a:ext uri="{FF2B5EF4-FFF2-40B4-BE49-F238E27FC236}">
                <a16:creationId xmlns:a16="http://schemas.microsoft.com/office/drawing/2014/main" id="{DC4ABBCE-B265-448A-A172-8E657091CF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94650" y="3085459"/>
            <a:ext cx="2699727" cy="14533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Graphique 2" descr="Base de données">
            <a:extLst>
              <a:ext uri="{FF2B5EF4-FFF2-40B4-BE49-F238E27FC236}">
                <a16:creationId xmlns:a16="http://schemas.microsoft.com/office/drawing/2014/main" id="{512CA596-A16E-493C-AF52-1D6DFD79546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895436" y="2928960"/>
            <a:ext cx="1604205" cy="1604205"/>
          </a:xfrm>
          <a:prstGeom prst="rect">
            <a:avLst/>
          </a:prstGeom>
        </p:spPr>
      </p:pic>
      <p:sp>
        <p:nvSpPr>
          <p:cNvPr id="4" name="ZoneTexte 3">
            <a:extLst>
              <a:ext uri="{FF2B5EF4-FFF2-40B4-BE49-F238E27FC236}">
                <a16:creationId xmlns:a16="http://schemas.microsoft.com/office/drawing/2014/main" id="{1FC10DC4-69FB-4647-B771-BEF50465D46F}"/>
              </a:ext>
            </a:extLst>
          </p:cNvPr>
          <p:cNvSpPr txBox="1"/>
          <p:nvPr/>
        </p:nvSpPr>
        <p:spPr>
          <a:xfrm>
            <a:off x="8154985" y="4533165"/>
            <a:ext cx="108510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dirty="0">
                <a:solidFill>
                  <a:schemeClr val="bg1"/>
                </a:solidFill>
              </a:rPr>
              <a:t>Datasets</a:t>
            </a:r>
          </a:p>
        </p:txBody>
      </p:sp>
    </p:spTree>
    <p:extLst>
      <p:ext uri="{BB962C8B-B14F-4D97-AF65-F5344CB8AC3E}">
        <p14:creationId xmlns:p14="http://schemas.microsoft.com/office/powerpoint/2010/main" val="2353495219"/>
      </p:ext>
    </p:extLst>
  </p:cSld>
  <p:clrMapOvr>
    <a:masterClrMapping/>
  </p:clrMapOvr>
  <p:transition spd="slow"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C401337-C7CB-41A6-8CE0-3585D7CA23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3CF5856C-2DCC-4224-858C-F72B9191D8C8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F265E1-D21D-4CB3-BB3B-268924D2495C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3F4D2D-2973-4ACC-B192-B9B9C062B26E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Démarche employée</a:t>
            </a:r>
            <a:endParaRPr lang="fr-FR" sz="4400" b="1" dirty="0">
              <a:solidFill>
                <a:schemeClr val="bg1"/>
              </a:solidFill>
            </a:endParaRP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99184F4E-E786-41F7-8FF2-DF0C64D502E1}"/>
              </a:ext>
            </a:extLst>
          </p:cNvPr>
          <p:cNvGrpSpPr/>
          <p:nvPr/>
        </p:nvGrpSpPr>
        <p:grpSpPr>
          <a:xfrm>
            <a:off x="81856" y="6071877"/>
            <a:ext cx="731876" cy="696657"/>
            <a:chOff x="81856" y="6268713"/>
            <a:chExt cx="536895" cy="499821"/>
          </a:xfrm>
        </p:grpSpPr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id="{300700A6-66DC-4417-9777-770A67377095}"/>
                </a:ext>
              </a:extLst>
            </p:cNvPr>
            <p:cNvSpPr/>
            <p:nvPr/>
          </p:nvSpPr>
          <p:spPr>
            <a:xfrm>
              <a:off x="152777" y="6331654"/>
              <a:ext cx="395052" cy="371527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/>
                <a:t>13</a:t>
              </a:r>
              <a:endParaRPr lang="fr-FR" sz="700" dirty="0"/>
            </a:p>
          </p:txBody>
        </p:sp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BD9E1393-A259-4000-9F24-9578D1A470BF}"/>
                </a:ext>
              </a:extLst>
            </p:cNvPr>
            <p:cNvSpPr/>
            <p:nvPr/>
          </p:nvSpPr>
          <p:spPr>
            <a:xfrm>
              <a:off x="81856" y="6268713"/>
              <a:ext cx="536895" cy="499821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87" name="Picture 8" descr="Image associÃ©e">
            <a:extLst>
              <a:ext uri="{FF2B5EF4-FFF2-40B4-BE49-F238E27FC236}">
                <a16:creationId xmlns:a16="http://schemas.microsoft.com/office/drawing/2014/main" id="{0090572A-2667-48E1-A1CE-342BF56B96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1672" y="6161343"/>
            <a:ext cx="1810327" cy="69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ZoneTexte 46">
            <a:extLst>
              <a:ext uri="{FF2B5EF4-FFF2-40B4-BE49-F238E27FC236}">
                <a16:creationId xmlns:a16="http://schemas.microsoft.com/office/drawing/2014/main" id="{35EC63A0-A045-400D-9A7E-1AF94C5EDCE3}"/>
              </a:ext>
            </a:extLst>
          </p:cNvPr>
          <p:cNvSpPr txBox="1"/>
          <p:nvPr/>
        </p:nvSpPr>
        <p:spPr>
          <a:xfrm>
            <a:off x="221672" y="1300870"/>
            <a:ext cx="2102489" cy="1335276"/>
          </a:xfrm>
          <a:prstGeom prst="rect">
            <a:avLst/>
          </a:prstGeom>
          <a:noFill/>
        </p:spPr>
        <p:txBody>
          <a:bodyPr wrap="square" lIns="103163" tIns="51581" rIns="103163" bIns="51581" rtlCol="0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1/ </a:t>
            </a:r>
            <a:r>
              <a:rPr lang="fr-FR" sz="1000" b="1" u="sng" dirty="0">
                <a:solidFill>
                  <a:schemeClr val="bg1"/>
                </a:solidFill>
                <a:latin typeface="Reem Kufi Regular"/>
              </a:rPr>
              <a:t>Présentation du projet</a:t>
            </a:r>
          </a:p>
          <a:p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Context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Problémat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Objectifs</a:t>
            </a:r>
          </a:p>
          <a:p>
            <a:pPr marL="226958" lvl="1"/>
            <a:r>
              <a:rPr lang="fr-FR" sz="1000" dirty="0">
                <a:solidFill>
                  <a:schemeClr val="bg1"/>
                </a:solidFill>
              </a:rPr>
              <a:t>  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FC979EDB-05FB-4D1F-ADF4-867969F21A2E}"/>
              </a:ext>
            </a:extLst>
          </p:cNvPr>
          <p:cNvSpPr/>
          <p:nvPr/>
        </p:nvSpPr>
        <p:spPr>
          <a:xfrm>
            <a:off x="215033" y="2693441"/>
            <a:ext cx="2173758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rgbClr val="FF0000"/>
                </a:solidFill>
              </a:rPr>
              <a:t>2/Démarche employée</a:t>
            </a:r>
          </a:p>
          <a:p>
            <a:endParaRPr lang="fr-FR" sz="1000" b="1" u="sng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Grande ligne du projet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Moteur de recherche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rgbClr val="FF0000"/>
                </a:solidFill>
              </a:rPr>
              <a:t>Les applications utilisant le machine Learning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50E00549-4D24-40B6-AE29-0024A82AE604}"/>
              </a:ext>
            </a:extLst>
          </p:cNvPr>
          <p:cNvSpPr/>
          <p:nvPr/>
        </p:nvSpPr>
        <p:spPr>
          <a:xfrm>
            <a:off x="221673" y="4047368"/>
            <a:ext cx="2167118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3/ Bilan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Techn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Personnel</a:t>
            </a:r>
          </a:p>
        </p:txBody>
      </p:sp>
      <p:sp>
        <p:nvSpPr>
          <p:cNvPr id="50" name="ZoneTexte 49">
            <a:extLst>
              <a:ext uri="{FF2B5EF4-FFF2-40B4-BE49-F238E27FC236}">
                <a16:creationId xmlns:a16="http://schemas.microsoft.com/office/drawing/2014/main" id="{D16B01F4-FB60-45E2-8972-DC5F7BE6F3C4}"/>
              </a:ext>
            </a:extLst>
          </p:cNvPr>
          <p:cNvSpPr txBox="1"/>
          <p:nvPr/>
        </p:nvSpPr>
        <p:spPr>
          <a:xfrm>
            <a:off x="2388791" y="955500"/>
            <a:ext cx="839106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Méthodes utilisées</a:t>
            </a: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DD29A2C9-79A7-4F62-9276-C49497DB9C5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350890" y="1882013"/>
            <a:ext cx="6466863" cy="46363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0371862"/>
      </p:ext>
    </p:extLst>
  </p:cSld>
  <p:clrMapOvr>
    <a:masterClrMapping/>
  </p:clrMapOvr>
  <p:transition spd="slow"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C401337-C7CB-41A6-8CE0-3585D7CA23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3CF5856C-2DCC-4224-858C-F72B9191D8C8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F265E1-D21D-4CB3-BB3B-268924D2495C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3F4D2D-2973-4ACC-B192-B9B9C062B26E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Démarche employée</a:t>
            </a:r>
            <a:endParaRPr lang="fr-FR" sz="4400" b="1" dirty="0">
              <a:solidFill>
                <a:schemeClr val="bg1"/>
              </a:solidFill>
            </a:endParaRP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99184F4E-E786-41F7-8FF2-DF0C64D502E1}"/>
              </a:ext>
            </a:extLst>
          </p:cNvPr>
          <p:cNvGrpSpPr/>
          <p:nvPr/>
        </p:nvGrpSpPr>
        <p:grpSpPr>
          <a:xfrm>
            <a:off x="81856" y="6071877"/>
            <a:ext cx="731876" cy="696657"/>
            <a:chOff x="81856" y="6268713"/>
            <a:chExt cx="536895" cy="499821"/>
          </a:xfrm>
        </p:grpSpPr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id="{300700A6-66DC-4417-9777-770A67377095}"/>
                </a:ext>
              </a:extLst>
            </p:cNvPr>
            <p:cNvSpPr/>
            <p:nvPr/>
          </p:nvSpPr>
          <p:spPr>
            <a:xfrm>
              <a:off x="152777" y="6331654"/>
              <a:ext cx="395052" cy="371527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/>
                <a:t>14</a:t>
              </a:r>
              <a:endParaRPr lang="fr-FR" sz="700" dirty="0"/>
            </a:p>
          </p:txBody>
        </p:sp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BD9E1393-A259-4000-9F24-9578D1A470BF}"/>
                </a:ext>
              </a:extLst>
            </p:cNvPr>
            <p:cNvSpPr/>
            <p:nvPr/>
          </p:nvSpPr>
          <p:spPr>
            <a:xfrm>
              <a:off x="81856" y="6268713"/>
              <a:ext cx="536895" cy="499821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87" name="Picture 8" descr="Image associÃ©e">
            <a:extLst>
              <a:ext uri="{FF2B5EF4-FFF2-40B4-BE49-F238E27FC236}">
                <a16:creationId xmlns:a16="http://schemas.microsoft.com/office/drawing/2014/main" id="{0090572A-2667-48E1-A1CE-342BF56B96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1672" y="6161343"/>
            <a:ext cx="1810327" cy="69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ZoneTexte 46">
            <a:extLst>
              <a:ext uri="{FF2B5EF4-FFF2-40B4-BE49-F238E27FC236}">
                <a16:creationId xmlns:a16="http://schemas.microsoft.com/office/drawing/2014/main" id="{35EC63A0-A045-400D-9A7E-1AF94C5EDCE3}"/>
              </a:ext>
            </a:extLst>
          </p:cNvPr>
          <p:cNvSpPr txBox="1"/>
          <p:nvPr/>
        </p:nvSpPr>
        <p:spPr>
          <a:xfrm>
            <a:off x="221672" y="1300870"/>
            <a:ext cx="2102489" cy="1335276"/>
          </a:xfrm>
          <a:prstGeom prst="rect">
            <a:avLst/>
          </a:prstGeom>
          <a:noFill/>
        </p:spPr>
        <p:txBody>
          <a:bodyPr wrap="square" lIns="103163" tIns="51581" rIns="103163" bIns="51581" rtlCol="0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1/ </a:t>
            </a:r>
            <a:r>
              <a:rPr lang="fr-FR" sz="1000" b="1" u="sng" dirty="0">
                <a:solidFill>
                  <a:schemeClr val="bg1"/>
                </a:solidFill>
                <a:latin typeface="Reem Kufi Regular"/>
              </a:rPr>
              <a:t>Présentation du projet</a:t>
            </a:r>
          </a:p>
          <a:p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Context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Problémat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Objectifs</a:t>
            </a:r>
          </a:p>
          <a:p>
            <a:pPr marL="226958" lvl="1"/>
            <a:r>
              <a:rPr lang="fr-FR" sz="1000" dirty="0">
                <a:solidFill>
                  <a:schemeClr val="bg1"/>
                </a:solidFill>
              </a:rPr>
              <a:t>  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FC979EDB-05FB-4D1F-ADF4-867969F21A2E}"/>
              </a:ext>
            </a:extLst>
          </p:cNvPr>
          <p:cNvSpPr/>
          <p:nvPr/>
        </p:nvSpPr>
        <p:spPr>
          <a:xfrm>
            <a:off x="215033" y="2693441"/>
            <a:ext cx="2173758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rgbClr val="FF0000"/>
                </a:solidFill>
              </a:rPr>
              <a:t>2/Démarche employée</a:t>
            </a:r>
          </a:p>
          <a:p>
            <a:endParaRPr lang="fr-FR" sz="1000" b="1" u="sng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Grande ligne du projet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Moteur de recherche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rgbClr val="FF0000"/>
                </a:solidFill>
              </a:rPr>
              <a:t>Les applications utilisant le machine Learning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50E00549-4D24-40B6-AE29-0024A82AE604}"/>
              </a:ext>
            </a:extLst>
          </p:cNvPr>
          <p:cNvSpPr/>
          <p:nvPr/>
        </p:nvSpPr>
        <p:spPr>
          <a:xfrm>
            <a:off x="221673" y="4047368"/>
            <a:ext cx="2167118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3/ Bilan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Techn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Personnel</a:t>
            </a:r>
          </a:p>
        </p:txBody>
      </p:sp>
      <p:sp>
        <p:nvSpPr>
          <p:cNvPr id="50" name="ZoneTexte 49">
            <a:extLst>
              <a:ext uri="{FF2B5EF4-FFF2-40B4-BE49-F238E27FC236}">
                <a16:creationId xmlns:a16="http://schemas.microsoft.com/office/drawing/2014/main" id="{D16B01F4-FB60-45E2-8972-DC5F7BE6F3C4}"/>
              </a:ext>
            </a:extLst>
          </p:cNvPr>
          <p:cNvSpPr txBox="1"/>
          <p:nvPr/>
        </p:nvSpPr>
        <p:spPr>
          <a:xfrm>
            <a:off x="2388791" y="955500"/>
            <a:ext cx="839106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Méthodes utilisées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EF99D571-0FA5-49C8-B9D5-448824DF0CB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473471" y="1939904"/>
            <a:ext cx="6221702" cy="2118823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AEFEC186-2F1E-4E46-A7CC-630857CA247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102934" y="4685385"/>
            <a:ext cx="6962775" cy="895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8111179"/>
      </p:ext>
    </p:extLst>
  </p:cSld>
  <p:clrMapOvr>
    <a:masterClrMapping/>
  </p:clrMapOvr>
  <p:transition spd="slow"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C401337-C7CB-41A6-8CE0-3585D7CA23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3CF5856C-2DCC-4224-858C-F72B9191D8C8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F265E1-D21D-4CB3-BB3B-268924D2495C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3F4D2D-2973-4ACC-B192-B9B9C062B26E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Démarche employée</a:t>
            </a:r>
            <a:endParaRPr lang="fr-FR" sz="4400" b="1" dirty="0">
              <a:solidFill>
                <a:schemeClr val="bg1"/>
              </a:solidFill>
            </a:endParaRP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99184F4E-E786-41F7-8FF2-DF0C64D502E1}"/>
              </a:ext>
            </a:extLst>
          </p:cNvPr>
          <p:cNvGrpSpPr/>
          <p:nvPr/>
        </p:nvGrpSpPr>
        <p:grpSpPr>
          <a:xfrm>
            <a:off x="81856" y="6071877"/>
            <a:ext cx="731876" cy="696657"/>
            <a:chOff x="81856" y="6268713"/>
            <a:chExt cx="536895" cy="499821"/>
          </a:xfrm>
        </p:grpSpPr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id="{300700A6-66DC-4417-9777-770A67377095}"/>
                </a:ext>
              </a:extLst>
            </p:cNvPr>
            <p:cNvSpPr/>
            <p:nvPr/>
          </p:nvSpPr>
          <p:spPr>
            <a:xfrm>
              <a:off x="152777" y="6331654"/>
              <a:ext cx="395052" cy="371527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/>
                <a:t>15</a:t>
              </a:r>
              <a:endParaRPr lang="fr-FR" sz="700" dirty="0"/>
            </a:p>
          </p:txBody>
        </p:sp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BD9E1393-A259-4000-9F24-9578D1A470BF}"/>
                </a:ext>
              </a:extLst>
            </p:cNvPr>
            <p:cNvSpPr/>
            <p:nvPr/>
          </p:nvSpPr>
          <p:spPr>
            <a:xfrm>
              <a:off x="81856" y="6268713"/>
              <a:ext cx="536895" cy="499821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87" name="Picture 8" descr="Image associÃ©e">
            <a:extLst>
              <a:ext uri="{FF2B5EF4-FFF2-40B4-BE49-F238E27FC236}">
                <a16:creationId xmlns:a16="http://schemas.microsoft.com/office/drawing/2014/main" id="{0090572A-2667-48E1-A1CE-342BF56B96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1672" y="6161343"/>
            <a:ext cx="1810327" cy="69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ZoneTexte 46">
            <a:extLst>
              <a:ext uri="{FF2B5EF4-FFF2-40B4-BE49-F238E27FC236}">
                <a16:creationId xmlns:a16="http://schemas.microsoft.com/office/drawing/2014/main" id="{35EC63A0-A045-400D-9A7E-1AF94C5EDCE3}"/>
              </a:ext>
            </a:extLst>
          </p:cNvPr>
          <p:cNvSpPr txBox="1"/>
          <p:nvPr/>
        </p:nvSpPr>
        <p:spPr>
          <a:xfrm>
            <a:off x="221672" y="1300870"/>
            <a:ext cx="2102489" cy="1335276"/>
          </a:xfrm>
          <a:prstGeom prst="rect">
            <a:avLst/>
          </a:prstGeom>
          <a:noFill/>
        </p:spPr>
        <p:txBody>
          <a:bodyPr wrap="square" lIns="103163" tIns="51581" rIns="103163" bIns="51581" rtlCol="0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1/ </a:t>
            </a:r>
            <a:r>
              <a:rPr lang="fr-FR" sz="1000" b="1" u="sng" dirty="0">
                <a:solidFill>
                  <a:schemeClr val="bg1"/>
                </a:solidFill>
                <a:latin typeface="Reem Kufi Regular"/>
              </a:rPr>
              <a:t>Présentation du projet</a:t>
            </a:r>
          </a:p>
          <a:p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Context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Problémat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Objectifs</a:t>
            </a:r>
          </a:p>
          <a:p>
            <a:pPr marL="226958" lvl="1"/>
            <a:r>
              <a:rPr lang="fr-FR" sz="1000" dirty="0">
                <a:solidFill>
                  <a:schemeClr val="bg1"/>
                </a:solidFill>
              </a:rPr>
              <a:t>  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FC979EDB-05FB-4D1F-ADF4-867969F21A2E}"/>
              </a:ext>
            </a:extLst>
          </p:cNvPr>
          <p:cNvSpPr/>
          <p:nvPr/>
        </p:nvSpPr>
        <p:spPr>
          <a:xfrm>
            <a:off x="215033" y="2693441"/>
            <a:ext cx="2173758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rgbClr val="FF0000"/>
                </a:solidFill>
              </a:rPr>
              <a:t>2/Démarche employée</a:t>
            </a:r>
          </a:p>
          <a:p>
            <a:endParaRPr lang="fr-FR" sz="1000" b="1" u="sng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Grande ligne du projet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Moteur de recherche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rgbClr val="FF0000"/>
                </a:solidFill>
              </a:rPr>
              <a:t>Les applications utilisant le machine Learning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50E00549-4D24-40B6-AE29-0024A82AE604}"/>
              </a:ext>
            </a:extLst>
          </p:cNvPr>
          <p:cNvSpPr/>
          <p:nvPr/>
        </p:nvSpPr>
        <p:spPr>
          <a:xfrm>
            <a:off x="221673" y="4047368"/>
            <a:ext cx="2167118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3/ Bilan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Techn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Personnel</a:t>
            </a:r>
          </a:p>
        </p:txBody>
      </p:sp>
      <p:sp>
        <p:nvSpPr>
          <p:cNvPr id="50" name="ZoneTexte 49">
            <a:extLst>
              <a:ext uri="{FF2B5EF4-FFF2-40B4-BE49-F238E27FC236}">
                <a16:creationId xmlns:a16="http://schemas.microsoft.com/office/drawing/2014/main" id="{D16B01F4-FB60-45E2-8972-DC5F7BE6F3C4}"/>
              </a:ext>
            </a:extLst>
          </p:cNvPr>
          <p:cNvSpPr txBox="1"/>
          <p:nvPr/>
        </p:nvSpPr>
        <p:spPr>
          <a:xfrm>
            <a:off x="2388791" y="955500"/>
            <a:ext cx="839106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Méthodes utilisées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37E4AF8F-CCBB-436C-9464-C73D9934235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79905" y="2030529"/>
            <a:ext cx="6008834" cy="4033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2208448"/>
      </p:ext>
    </p:extLst>
  </p:cSld>
  <p:clrMapOvr>
    <a:masterClrMapping/>
  </p:clrMapOvr>
  <p:transition spd="slow"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9778D14-8845-4FB8-BB12-1F68B7686C2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17742AAE-5BCB-433E-96F0-68564AA6FCD0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F570B9A-2132-4B98-83A6-D75BEA1DE1CD}"/>
              </a:ext>
            </a:extLst>
          </p:cNvPr>
          <p:cNvSpPr/>
          <p:nvPr/>
        </p:nvSpPr>
        <p:spPr>
          <a:xfrm rot="505374">
            <a:off x="1290125" y="783655"/>
            <a:ext cx="45719" cy="6104049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ADFEE18B-16CB-4F9E-BD4A-6E9EB8C267C2}"/>
              </a:ext>
            </a:extLst>
          </p:cNvPr>
          <p:cNvSpPr/>
          <p:nvPr/>
        </p:nvSpPr>
        <p:spPr>
          <a:xfrm>
            <a:off x="933033" y="2928866"/>
            <a:ext cx="1000267" cy="1000267"/>
          </a:xfrm>
          <a:prstGeom prst="ellipse">
            <a:avLst/>
          </a:prstGeom>
          <a:solidFill>
            <a:schemeClr val="tx2">
              <a:lumMod val="5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4400" dirty="0"/>
              <a:t>3</a:t>
            </a:r>
            <a:endParaRPr lang="fr-FR" dirty="0"/>
          </a:p>
        </p:txBody>
      </p:sp>
      <p:sp>
        <p:nvSpPr>
          <p:cNvPr id="13" name="Ellipse 12">
            <a:extLst>
              <a:ext uri="{FF2B5EF4-FFF2-40B4-BE49-F238E27FC236}">
                <a16:creationId xmlns:a16="http://schemas.microsoft.com/office/drawing/2014/main" id="{86D5B5F8-020D-4622-B97A-0A1905D431A4}"/>
              </a:ext>
            </a:extLst>
          </p:cNvPr>
          <p:cNvSpPr/>
          <p:nvPr/>
        </p:nvSpPr>
        <p:spPr>
          <a:xfrm>
            <a:off x="843315" y="2836105"/>
            <a:ext cx="1182752" cy="1182752"/>
          </a:xfrm>
          <a:prstGeom prst="ellips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7D6485DA-8B9C-4E00-B5C8-62A8D11E6307}"/>
              </a:ext>
            </a:extLst>
          </p:cNvPr>
          <p:cNvSpPr txBox="1"/>
          <p:nvPr/>
        </p:nvSpPr>
        <p:spPr>
          <a:xfrm>
            <a:off x="2180839" y="2910861"/>
            <a:ext cx="7830320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600" dirty="0">
                <a:solidFill>
                  <a:schemeClr val="bg1"/>
                </a:solidFill>
                <a:latin typeface="Reem Kufi Regular"/>
              </a:rPr>
              <a:t>Bilan</a:t>
            </a:r>
            <a:endParaRPr lang="fr-FR" sz="6600" dirty="0">
              <a:solidFill>
                <a:schemeClr val="bg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27D19A-C2E1-4390-B8F2-E28EE5020D7E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2026832"/>
      </p:ext>
    </p:extLst>
  </p:cSld>
  <p:clrMapOvr>
    <a:masterClrMapping/>
  </p:clrMapOvr>
  <p:transition spd="slow"/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C401337-C7CB-41A6-8CE0-3585D7CA23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3CF5856C-2DCC-4224-858C-F72B9191D8C8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F265E1-D21D-4CB3-BB3B-268924D2495C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3F4D2D-2973-4ACC-B192-B9B9C062B26E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Bilan</a:t>
            </a:r>
            <a:endParaRPr lang="fr-FR" sz="4400" b="1" dirty="0">
              <a:solidFill>
                <a:schemeClr val="bg1"/>
              </a:solidFill>
            </a:endParaRP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99184F4E-E786-41F7-8FF2-DF0C64D502E1}"/>
              </a:ext>
            </a:extLst>
          </p:cNvPr>
          <p:cNvGrpSpPr/>
          <p:nvPr/>
        </p:nvGrpSpPr>
        <p:grpSpPr>
          <a:xfrm>
            <a:off x="81856" y="6071877"/>
            <a:ext cx="731876" cy="696657"/>
            <a:chOff x="81856" y="6268713"/>
            <a:chExt cx="536895" cy="499821"/>
          </a:xfrm>
        </p:grpSpPr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id="{300700A6-66DC-4417-9777-770A67377095}"/>
                </a:ext>
              </a:extLst>
            </p:cNvPr>
            <p:cNvSpPr/>
            <p:nvPr/>
          </p:nvSpPr>
          <p:spPr>
            <a:xfrm>
              <a:off x="152777" y="6331654"/>
              <a:ext cx="395052" cy="371527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/>
                <a:t>16</a:t>
              </a:r>
              <a:endParaRPr lang="fr-FR" sz="700" dirty="0"/>
            </a:p>
          </p:txBody>
        </p:sp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BD9E1393-A259-4000-9F24-9578D1A470BF}"/>
                </a:ext>
              </a:extLst>
            </p:cNvPr>
            <p:cNvSpPr/>
            <p:nvPr/>
          </p:nvSpPr>
          <p:spPr>
            <a:xfrm>
              <a:off x="81856" y="6268713"/>
              <a:ext cx="536895" cy="499821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87" name="Picture 8" descr="Image associÃ©e">
            <a:extLst>
              <a:ext uri="{FF2B5EF4-FFF2-40B4-BE49-F238E27FC236}">
                <a16:creationId xmlns:a16="http://schemas.microsoft.com/office/drawing/2014/main" id="{0090572A-2667-48E1-A1CE-342BF56B96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1672" y="6161343"/>
            <a:ext cx="1810327" cy="69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ZoneTexte 46">
            <a:extLst>
              <a:ext uri="{FF2B5EF4-FFF2-40B4-BE49-F238E27FC236}">
                <a16:creationId xmlns:a16="http://schemas.microsoft.com/office/drawing/2014/main" id="{35EC63A0-A045-400D-9A7E-1AF94C5EDCE3}"/>
              </a:ext>
            </a:extLst>
          </p:cNvPr>
          <p:cNvSpPr txBox="1"/>
          <p:nvPr/>
        </p:nvSpPr>
        <p:spPr>
          <a:xfrm>
            <a:off x="221672" y="1300870"/>
            <a:ext cx="2102489" cy="1335276"/>
          </a:xfrm>
          <a:prstGeom prst="rect">
            <a:avLst/>
          </a:prstGeom>
          <a:noFill/>
        </p:spPr>
        <p:txBody>
          <a:bodyPr wrap="square" lIns="103163" tIns="51581" rIns="103163" bIns="51581" rtlCol="0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1/ </a:t>
            </a:r>
            <a:r>
              <a:rPr lang="fr-FR" sz="1000" b="1" u="sng" dirty="0">
                <a:solidFill>
                  <a:schemeClr val="bg1"/>
                </a:solidFill>
                <a:latin typeface="Reem Kufi Regular"/>
              </a:rPr>
              <a:t>Présentation du projet</a:t>
            </a:r>
          </a:p>
          <a:p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Context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Problémat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Objectifs</a:t>
            </a:r>
          </a:p>
          <a:p>
            <a:pPr marL="226958" lvl="1"/>
            <a:r>
              <a:rPr lang="fr-FR" sz="1000" dirty="0">
                <a:solidFill>
                  <a:schemeClr val="bg1"/>
                </a:solidFill>
              </a:rPr>
              <a:t>  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FC979EDB-05FB-4D1F-ADF4-867969F21A2E}"/>
              </a:ext>
            </a:extLst>
          </p:cNvPr>
          <p:cNvSpPr/>
          <p:nvPr/>
        </p:nvSpPr>
        <p:spPr>
          <a:xfrm>
            <a:off x="215033" y="2693441"/>
            <a:ext cx="2173758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2/Démarche employée</a:t>
            </a:r>
          </a:p>
          <a:p>
            <a:endParaRPr lang="fr-FR" sz="1000" b="1" u="sng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Grande ligne du projet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Moteur de recherche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Les applications utilisant le machine Learning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50E00549-4D24-40B6-AE29-0024A82AE604}"/>
              </a:ext>
            </a:extLst>
          </p:cNvPr>
          <p:cNvSpPr/>
          <p:nvPr/>
        </p:nvSpPr>
        <p:spPr>
          <a:xfrm>
            <a:off x="221673" y="4047368"/>
            <a:ext cx="2167118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rgbClr val="FF0000"/>
                </a:solidFill>
              </a:rPr>
              <a:t>3/ Bilan</a:t>
            </a:r>
            <a:br>
              <a:rPr lang="fr-FR" sz="1000" dirty="0">
                <a:solidFill>
                  <a:srgbClr val="FF0000"/>
                </a:solidFill>
              </a:rPr>
            </a:br>
            <a:endParaRPr lang="fr-FR" sz="1000" dirty="0">
              <a:solidFill>
                <a:srgbClr val="FF0000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rgbClr val="FF0000"/>
                </a:solidFill>
              </a:rPr>
              <a:t>Bilan Techn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Personnel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9D8B3DA9-1573-479E-977F-250A0CB7D70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246466" y="1862372"/>
            <a:ext cx="9730501" cy="3491385"/>
          </a:xfrm>
          <a:prstGeom prst="rect">
            <a:avLst/>
          </a:prstGeom>
        </p:spPr>
      </p:pic>
      <p:sp>
        <p:nvSpPr>
          <p:cNvPr id="19" name="ZoneTexte 18">
            <a:extLst>
              <a:ext uri="{FF2B5EF4-FFF2-40B4-BE49-F238E27FC236}">
                <a16:creationId xmlns:a16="http://schemas.microsoft.com/office/drawing/2014/main" id="{19124753-FC40-4827-92D9-8A44D3419E47}"/>
              </a:ext>
            </a:extLst>
          </p:cNvPr>
          <p:cNvSpPr txBox="1"/>
          <p:nvPr/>
        </p:nvSpPr>
        <p:spPr>
          <a:xfrm>
            <a:off x="2128075" y="1304188"/>
            <a:ext cx="204267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dirty="0">
                <a:solidFill>
                  <a:schemeClr val="bg1"/>
                </a:solidFill>
              </a:rPr>
              <a:t>Listing des heures</a:t>
            </a:r>
          </a:p>
        </p:txBody>
      </p:sp>
    </p:spTree>
    <p:extLst>
      <p:ext uri="{BB962C8B-B14F-4D97-AF65-F5344CB8AC3E}">
        <p14:creationId xmlns:p14="http://schemas.microsoft.com/office/powerpoint/2010/main" val="2839206655"/>
      </p:ext>
    </p:extLst>
  </p:cSld>
  <p:clrMapOvr>
    <a:masterClrMapping/>
  </p:clrMapOvr>
  <p:transition spd="slow"/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C401337-C7CB-41A6-8CE0-3585D7CA23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3CF5856C-2DCC-4224-858C-F72B9191D8C8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F265E1-D21D-4CB3-BB3B-268924D2495C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3F4D2D-2973-4ACC-B192-B9B9C062B26E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Bilan</a:t>
            </a:r>
            <a:endParaRPr lang="fr-FR" sz="4400" b="1" dirty="0">
              <a:solidFill>
                <a:schemeClr val="bg1"/>
              </a:solidFill>
            </a:endParaRP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99184F4E-E786-41F7-8FF2-DF0C64D502E1}"/>
              </a:ext>
            </a:extLst>
          </p:cNvPr>
          <p:cNvGrpSpPr/>
          <p:nvPr/>
        </p:nvGrpSpPr>
        <p:grpSpPr>
          <a:xfrm>
            <a:off x="81856" y="6071877"/>
            <a:ext cx="731876" cy="696657"/>
            <a:chOff x="81856" y="6268713"/>
            <a:chExt cx="536895" cy="499821"/>
          </a:xfrm>
        </p:grpSpPr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id="{300700A6-66DC-4417-9777-770A67377095}"/>
                </a:ext>
              </a:extLst>
            </p:cNvPr>
            <p:cNvSpPr/>
            <p:nvPr/>
          </p:nvSpPr>
          <p:spPr>
            <a:xfrm>
              <a:off x="152777" y="6331654"/>
              <a:ext cx="395052" cy="371527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/>
                <a:t>17</a:t>
              </a:r>
              <a:endParaRPr lang="fr-FR" sz="700" dirty="0"/>
            </a:p>
          </p:txBody>
        </p:sp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BD9E1393-A259-4000-9F24-9578D1A470BF}"/>
                </a:ext>
              </a:extLst>
            </p:cNvPr>
            <p:cNvSpPr/>
            <p:nvPr/>
          </p:nvSpPr>
          <p:spPr>
            <a:xfrm>
              <a:off x="81856" y="6268713"/>
              <a:ext cx="536895" cy="499821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87" name="Picture 8" descr="Image associÃ©e">
            <a:extLst>
              <a:ext uri="{FF2B5EF4-FFF2-40B4-BE49-F238E27FC236}">
                <a16:creationId xmlns:a16="http://schemas.microsoft.com/office/drawing/2014/main" id="{0090572A-2667-48E1-A1CE-342BF56B96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1672" y="6161343"/>
            <a:ext cx="1810327" cy="69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ZoneTexte 18">
            <a:extLst>
              <a:ext uri="{FF2B5EF4-FFF2-40B4-BE49-F238E27FC236}">
                <a16:creationId xmlns:a16="http://schemas.microsoft.com/office/drawing/2014/main" id="{19124753-FC40-4827-92D9-8A44D3419E47}"/>
              </a:ext>
            </a:extLst>
          </p:cNvPr>
          <p:cNvSpPr txBox="1"/>
          <p:nvPr/>
        </p:nvSpPr>
        <p:spPr>
          <a:xfrm>
            <a:off x="600440" y="1456810"/>
            <a:ext cx="203228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dirty="0">
                <a:solidFill>
                  <a:schemeClr val="bg1"/>
                </a:solidFill>
              </a:rPr>
              <a:t>Objectifs livrables</a:t>
            </a:r>
          </a:p>
        </p:txBody>
      </p:sp>
      <p:graphicFrame>
        <p:nvGraphicFramePr>
          <p:cNvPr id="16" name="Value Chain with Textboxes">
            <a:extLst>
              <a:ext uri="{FF2B5EF4-FFF2-40B4-BE49-F238E27FC236}">
                <a16:creationId xmlns:a16="http://schemas.microsoft.com/office/drawing/2014/main" id="{84762EA5-685E-4578-8326-7A6A9FD1E90F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8043800"/>
              </p:ext>
            </p:extLst>
          </p:nvPr>
        </p:nvGraphicFramePr>
        <p:xfrm>
          <a:off x="600440" y="2596905"/>
          <a:ext cx="10944225" cy="344047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1" r:lo="rId12" r:qs="rId13" r:cs="rId14"/>
          </a:graphicData>
        </a:graphic>
      </p:graphicFrame>
      <p:sp>
        <p:nvSpPr>
          <p:cNvPr id="17" name="Title">
            <a:extLst>
              <a:ext uri="{FF2B5EF4-FFF2-40B4-BE49-F238E27FC236}">
                <a16:creationId xmlns:a16="http://schemas.microsoft.com/office/drawing/2014/main" id="{F3C5EF6E-031D-4FA5-9281-435031347258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600440" y="2232849"/>
            <a:ext cx="2566830" cy="364056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ts val="24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ctr"/>
            <a:r>
              <a:rPr lang="fr-FR" sz="1600" dirty="0">
                <a:solidFill>
                  <a:schemeClr val="bg1"/>
                </a:solidFill>
              </a:rPr>
              <a:t>Septembre - Octobre</a:t>
            </a:r>
          </a:p>
        </p:txBody>
      </p:sp>
      <p:sp>
        <p:nvSpPr>
          <p:cNvPr id="18" name="Title">
            <a:extLst>
              <a:ext uri="{FF2B5EF4-FFF2-40B4-BE49-F238E27FC236}">
                <a16:creationId xmlns:a16="http://schemas.microsoft.com/office/drawing/2014/main" id="{4D22DEFA-CC10-4508-A8FD-5C34F49F09D5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3450245" y="2230111"/>
            <a:ext cx="2566830" cy="364056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ts val="24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ctr"/>
            <a:r>
              <a:rPr lang="fr-FR" sz="1600" dirty="0">
                <a:solidFill>
                  <a:schemeClr val="bg1"/>
                </a:solidFill>
              </a:rPr>
              <a:t>Novembre - Décembr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F3DC14B1-04AC-4638-887D-6CAA6155BF4C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6095999" y="2230111"/>
            <a:ext cx="2566830" cy="364056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ts val="24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ctr"/>
            <a:r>
              <a:rPr lang="fr-FR" sz="1600" dirty="0">
                <a:solidFill>
                  <a:schemeClr val="bg1"/>
                </a:solidFill>
              </a:rPr>
              <a:t>Janvier - Avril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57C21F7A-7167-4AEB-918F-E6261B704B73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8866875" y="2230111"/>
            <a:ext cx="2566830" cy="364056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ts val="24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ctr"/>
            <a:r>
              <a:rPr lang="fr-FR" sz="1600" dirty="0">
                <a:solidFill>
                  <a:schemeClr val="bg1"/>
                </a:solidFill>
              </a:rPr>
              <a:t>Mai - Juin</a:t>
            </a:r>
          </a:p>
        </p:txBody>
      </p:sp>
    </p:spTree>
    <p:extLst>
      <p:ext uri="{BB962C8B-B14F-4D97-AF65-F5344CB8AC3E}">
        <p14:creationId xmlns:p14="http://schemas.microsoft.com/office/powerpoint/2010/main" val="3126323699"/>
      </p:ext>
    </p:extLst>
  </p:cSld>
  <p:clrMapOvr>
    <a:masterClrMapping/>
  </p:clrMapOvr>
  <p:transition spd="slow"/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C401337-C7CB-41A6-8CE0-3585D7CA23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3CF5856C-2DCC-4224-858C-F72B9191D8C8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F265E1-D21D-4CB3-BB3B-268924D2495C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3F4D2D-2973-4ACC-B192-B9B9C062B26E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Bilan</a:t>
            </a:r>
            <a:endParaRPr lang="fr-FR" sz="4400" b="1" dirty="0">
              <a:solidFill>
                <a:schemeClr val="bg1"/>
              </a:solidFill>
            </a:endParaRP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99184F4E-E786-41F7-8FF2-DF0C64D502E1}"/>
              </a:ext>
            </a:extLst>
          </p:cNvPr>
          <p:cNvGrpSpPr/>
          <p:nvPr/>
        </p:nvGrpSpPr>
        <p:grpSpPr>
          <a:xfrm>
            <a:off x="81856" y="6071877"/>
            <a:ext cx="731876" cy="696657"/>
            <a:chOff x="81856" y="6268713"/>
            <a:chExt cx="536895" cy="499821"/>
          </a:xfrm>
        </p:grpSpPr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id="{300700A6-66DC-4417-9777-770A67377095}"/>
                </a:ext>
              </a:extLst>
            </p:cNvPr>
            <p:cNvSpPr/>
            <p:nvPr/>
          </p:nvSpPr>
          <p:spPr>
            <a:xfrm>
              <a:off x="152777" y="6331654"/>
              <a:ext cx="395052" cy="371527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/>
                <a:t>18</a:t>
              </a:r>
              <a:endParaRPr lang="fr-FR" sz="700" dirty="0"/>
            </a:p>
          </p:txBody>
        </p:sp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BD9E1393-A259-4000-9F24-9578D1A470BF}"/>
                </a:ext>
              </a:extLst>
            </p:cNvPr>
            <p:cNvSpPr/>
            <p:nvPr/>
          </p:nvSpPr>
          <p:spPr>
            <a:xfrm>
              <a:off x="81856" y="6268713"/>
              <a:ext cx="536895" cy="499821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87" name="Picture 8" descr="Image associÃ©e">
            <a:extLst>
              <a:ext uri="{FF2B5EF4-FFF2-40B4-BE49-F238E27FC236}">
                <a16:creationId xmlns:a16="http://schemas.microsoft.com/office/drawing/2014/main" id="{0090572A-2667-48E1-A1CE-342BF56B96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1672" y="6161343"/>
            <a:ext cx="1810327" cy="69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ZoneTexte 46">
            <a:extLst>
              <a:ext uri="{FF2B5EF4-FFF2-40B4-BE49-F238E27FC236}">
                <a16:creationId xmlns:a16="http://schemas.microsoft.com/office/drawing/2014/main" id="{35EC63A0-A045-400D-9A7E-1AF94C5EDCE3}"/>
              </a:ext>
            </a:extLst>
          </p:cNvPr>
          <p:cNvSpPr txBox="1"/>
          <p:nvPr/>
        </p:nvSpPr>
        <p:spPr>
          <a:xfrm>
            <a:off x="221672" y="1300870"/>
            <a:ext cx="2102489" cy="1335276"/>
          </a:xfrm>
          <a:prstGeom prst="rect">
            <a:avLst/>
          </a:prstGeom>
          <a:noFill/>
        </p:spPr>
        <p:txBody>
          <a:bodyPr wrap="square" lIns="103163" tIns="51581" rIns="103163" bIns="51581" rtlCol="0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1/ </a:t>
            </a:r>
            <a:r>
              <a:rPr lang="fr-FR" sz="1000" b="1" u="sng" dirty="0">
                <a:solidFill>
                  <a:schemeClr val="bg1"/>
                </a:solidFill>
                <a:latin typeface="Reem Kufi Regular"/>
              </a:rPr>
              <a:t>Présentation du projet</a:t>
            </a:r>
          </a:p>
          <a:p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Context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Problémat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Objectifs</a:t>
            </a:r>
          </a:p>
          <a:p>
            <a:pPr marL="226958" lvl="1"/>
            <a:r>
              <a:rPr lang="fr-FR" sz="1000" dirty="0">
                <a:solidFill>
                  <a:schemeClr val="bg1"/>
                </a:solidFill>
              </a:rPr>
              <a:t>  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FC979EDB-05FB-4D1F-ADF4-867969F21A2E}"/>
              </a:ext>
            </a:extLst>
          </p:cNvPr>
          <p:cNvSpPr/>
          <p:nvPr/>
        </p:nvSpPr>
        <p:spPr>
          <a:xfrm>
            <a:off x="215033" y="2693441"/>
            <a:ext cx="2173758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2/Démarche employée</a:t>
            </a:r>
          </a:p>
          <a:p>
            <a:endParaRPr lang="fr-FR" sz="1000" b="1" u="sng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Grande ligne du projet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Moteur de recherche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Les applications utilisant le machine Learning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50E00549-4D24-40B6-AE29-0024A82AE604}"/>
              </a:ext>
            </a:extLst>
          </p:cNvPr>
          <p:cNvSpPr/>
          <p:nvPr/>
        </p:nvSpPr>
        <p:spPr>
          <a:xfrm>
            <a:off x="221673" y="4047368"/>
            <a:ext cx="2167118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rgbClr val="FF0000"/>
                </a:solidFill>
              </a:rPr>
              <a:t>3/ Bilan</a:t>
            </a:r>
            <a:br>
              <a:rPr lang="fr-FR" sz="1000" dirty="0">
                <a:solidFill>
                  <a:srgbClr val="FF0000"/>
                </a:solidFill>
              </a:rPr>
            </a:br>
            <a:endParaRPr lang="fr-FR" sz="1000" dirty="0">
              <a:solidFill>
                <a:srgbClr val="FF0000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rgbClr val="FF0000"/>
                </a:solidFill>
              </a:rPr>
              <a:t>Bilan Techn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Personnel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19124753-FC40-4827-92D9-8A44D3419E47}"/>
              </a:ext>
            </a:extLst>
          </p:cNvPr>
          <p:cNvSpPr txBox="1"/>
          <p:nvPr/>
        </p:nvSpPr>
        <p:spPr>
          <a:xfrm>
            <a:off x="2128075" y="1304188"/>
            <a:ext cx="309155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dirty="0">
                <a:solidFill>
                  <a:schemeClr val="bg1"/>
                </a:solidFill>
              </a:rPr>
              <a:t>Répartition des applications</a:t>
            </a: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F0F0F6A9-7320-4DAF-8886-BF5CB332FEE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581687" y="3999922"/>
            <a:ext cx="666597" cy="670792"/>
          </a:xfrm>
          <a:prstGeom prst="rect">
            <a:avLst/>
          </a:prstGeom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BAD7B244-E401-4345-9128-C2A89A18AFE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5833" y="4848259"/>
            <a:ext cx="851334" cy="851334"/>
          </a:xfrm>
          <a:prstGeom prst="rect">
            <a:avLst/>
          </a:prstGeom>
        </p:spPr>
      </p:pic>
      <p:pic>
        <p:nvPicPr>
          <p:cNvPr id="17" name="Image 16" descr="Une image contenant objet&#10;&#10;Description générée automatiquement">
            <a:extLst>
              <a:ext uri="{FF2B5EF4-FFF2-40B4-BE49-F238E27FC236}">
                <a16:creationId xmlns:a16="http://schemas.microsoft.com/office/drawing/2014/main" id="{FD82791F-C443-4808-9F8F-B04EF969428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1687" y="2899346"/>
            <a:ext cx="815480" cy="815480"/>
          </a:xfrm>
          <a:prstGeom prst="rect">
            <a:avLst/>
          </a:prstGeom>
        </p:spPr>
      </p:pic>
      <p:sp>
        <p:nvSpPr>
          <p:cNvPr id="18" name="ZoneTexte 17">
            <a:extLst>
              <a:ext uri="{FF2B5EF4-FFF2-40B4-BE49-F238E27FC236}">
                <a16:creationId xmlns:a16="http://schemas.microsoft.com/office/drawing/2014/main" id="{D0F288BF-E30F-4143-9D14-A22413B48FB7}"/>
              </a:ext>
            </a:extLst>
          </p:cNvPr>
          <p:cNvSpPr txBox="1"/>
          <p:nvPr/>
        </p:nvSpPr>
        <p:spPr>
          <a:xfrm>
            <a:off x="3692312" y="5089260"/>
            <a:ext cx="231873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Analyse de spam</a:t>
            </a: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95EC69F7-4670-4CF8-A1F2-882CFD368EB5}"/>
              </a:ext>
            </a:extLst>
          </p:cNvPr>
          <p:cNvSpPr txBox="1"/>
          <p:nvPr/>
        </p:nvSpPr>
        <p:spPr>
          <a:xfrm>
            <a:off x="2968556" y="4156168"/>
            <a:ext cx="37662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Moteur de recherche</a:t>
            </a:r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2F5A9BBC-291E-4DFF-927C-7225D02BF9B9}"/>
              </a:ext>
            </a:extLst>
          </p:cNvPr>
          <p:cNvSpPr txBox="1"/>
          <p:nvPr/>
        </p:nvSpPr>
        <p:spPr>
          <a:xfrm>
            <a:off x="3377983" y="3142963"/>
            <a:ext cx="31930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Catégorisation de texte</a:t>
            </a:r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EA224464-F5AC-4A09-839F-ECEBBB038695}"/>
              </a:ext>
            </a:extLst>
          </p:cNvPr>
          <p:cNvSpPr txBox="1"/>
          <p:nvPr/>
        </p:nvSpPr>
        <p:spPr>
          <a:xfrm>
            <a:off x="3345504" y="2164563"/>
            <a:ext cx="32063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Analyse de sentiment</a:t>
            </a:r>
          </a:p>
        </p:txBody>
      </p:sp>
      <p:pic>
        <p:nvPicPr>
          <p:cNvPr id="24" name="Image 23">
            <a:extLst>
              <a:ext uri="{FF2B5EF4-FFF2-40B4-BE49-F238E27FC236}">
                <a16:creationId xmlns:a16="http://schemas.microsoft.com/office/drawing/2014/main" id="{9D8920BC-619C-4F92-B993-8730C8216E0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94094" y="2049699"/>
            <a:ext cx="635009" cy="635009"/>
          </a:xfrm>
          <a:prstGeom prst="rect">
            <a:avLst/>
          </a:prstGeom>
        </p:spPr>
      </p:pic>
      <p:cxnSp>
        <p:nvCxnSpPr>
          <p:cNvPr id="25" name="Connecteur droit 24">
            <a:extLst>
              <a:ext uri="{FF2B5EF4-FFF2-40B4-BE49-F238E27FC236}">
                <a16:creationId xmlns:a16="http://schemas.microsoft.com/office/drawing/2014/main" id="{6A66B907-4911-4553-AD90-E83C6293A80E}"/>
              </a:ext>
            </a:extLst>
          </p:cNvPr>
          <p:cNvCxnSpPr>
            <a:cxnSpLocks/>
          </p:cNvCxnSpPr>
          <p:nvPr/>
        </p:nvCxnSpPr>
        <p:spPr>
          <a:xfrm>
            <a:off x="2517790" y="2796402"/>
            <a:ext cx="967420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necteur droit 25">
            <a:extLst>
              <a:ext uri="{FF2B5EF4-FFF2-40B4-BE49-F238E27FC236}">
                <a16:creationId xmlns:a16="http://schemas.microsoft.com/office/drawing/2014/main" id="{69BA0316-476F-4F54-9516-5CA67EE49DEA}"/>
              </a:ext>
            </a:extLst>
          </p:cNvPr>
          <p:cNvCxnSpPr>
            <a:cxnSpLocks/>
          </p:cNvCxnSpPr>
          <p:nvPr/>
        </p:nvCxnSpPr>
        <p:spPr>
          <a:xfrm>
            <a:off x="2517790" y="3859036"/>
            <a:ext cx="967420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necteur droit 26">
            <a:extLst>
              <a:ext uri="{FF2B5EF4-FFF2-40B4-BE49-F238E27FC236}">
                <a16:creationId xmlns:a16="http://schemas.microsoft.com/office/drawing/2014/main" id="{23402F10-1A7B-4CA8-BBB2-3B1C2DD2FA9D}"/>
              </a:ext>
            </a:extLst>
          </p:cNvPr>
          <p:cNvCxnSpPr>
            <a:cxnSpLocks/>
          </p:cNvCxnSpPr>
          <p:nvPr/>
        </p:nvCxnSpPr>
        <p:spPr>
          <a:xfrm>
            <a:off x="2517790" y="4805516"/>
            <a:ext cx="967421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necteur droit 27">
            <a:extLst>
              <a:ext uri="{FF2B5EF4-FFF2-40B4-BE49-F238E27FC236}">
                <a16:creationId xmlns:a16="http://schemas.microsoft.com/office/drawing/2014/main" id="{44C471CB-0783-4AFD-85F7-6ED633A1DA26}"/>
              </a:ext>
            </a:extLst>
          </p:cNvPr>
          <p:cNvCxnSpPr>
            <a:cxnSpLocks/>
          </p:cNvCxnSpPr>
          <p:nvPr/>
        </p:nvCxnSpPr>
        <p:spPr>
          <a:xfrm>
            <a:off x="2517790" y="5742336"/>
            <a:ext cx="967420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necteur droit 28">
            <a:extLst>
              <a:ext uri="{FF2B5EF4-FFF2-40B4-BE49-F238E27FC236}">
                <a16:creationId xmlns:a16="http://schemas.microsoft.com/office/drawing/2014/main" id="{739B331F-6F63-46F4-B14D-E4AC3AAA9659}"/>
              </a:ext>
            </a:extLst>
          </p:cNvPr>
          <p:cNvCxnSpPr>
            <a:cxnSpLocks/>
          </p:cNvCxnSpPr>
          <p:nvPr/>
        </p:nvCxnSpPr>
        <p:spPr>
          <a:xfrm>
            <a:off x="6571070" y="2001175"/>
            <a:ext cx="0" cy="374116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ZoneTexte 32">
            <a:extLst>
              <a:ext uri="{FF2B5EF4-FFF2-40B4-BE49-F238E27FC236}">
                <a16:creationId xmlns:a16="http://schemas.microsoft.com/office/drawing/2014/main" id="{A2AF2095-89E2-45F8-B945-CB3B7322934B}"/>
              </a:ext>
            </a:extLst>
          </p:cNvPr>
          <p:cNvSpPr txBox="1"/>
          <p:nvPr/>
        </p:nvSpPr>
        <p:spPr>
          <a:xfrm>
            <a:off x="6661230" y="2079772"/>
            <a:ext cx="287545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Juliette </a:t>
            </a:r>
            <a:r>
              <a:rPr lang="fr-FR" b="1" dirty="0" err="1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Vaton</a:t>
            </a:r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 (JVA)</a:t>
            </a:r>
          </a:p>
          <a:p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Gérome Ferrand (GFE)</a:t>
            </a:r>
          </a:p>
        </p:txBody>
      </p:sp>
      <p:sp>
        <p:nvSpPr>
          <p:cNvPr id="34" name="ZoneTexte 33">
            <a:extLst>
              <a:ext uri="{FF2B5EF4-FFF2-40B4-BE49-F238E27FC236}">
                <a16:creationId xmlns:a16="http://schemas.microsoft.com/office/drawing/2014/main" id="{A4440B9B-9F66-4403-AB4A-6519F4D6A1C3}"/>
              </a:ext>
            </a:extLst>
          </p:cNvPr>
          <p:cNvSpPr txBox="1"/>
          <p:nvPr/>
        </p:nvSpPr>
        <p:spPr>
          <a:xfrm>
            <a:off x="6616488" y="2870313"/>
            <a:ext cx="287545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Nathan Moussu (NMO)</a:t>
            </a:r>
          </a:p>
          <a:p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Gérome Ferrand (GFE)</a:t>
            </a:r>
          </a:p>
          <a:p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Alexandre Dufour (ADU)</a:t>
            </a:r>
          </a:p>
        </p:txBody>
      </p:sp>
      <p:sp>
        <p:nvSpPr>
          <p:cNvPr id="35" name="ZoneTexte 34">
            <a:extLst>
              <a:ext uri="{FF2B5EF4-FFF2-40B4-BE49-F238E27FC236}">
                <a16:creationId xmlns:a16="http://schemas.microsoft.com/office/drawing/2014/main" id="{5EA82CCD-FEF9-4B18-AA87-2E35189F60DB}"/>
              </a:ext>
            </a:extLst>
          </p:cNvPr>
          <p:cNvSpPr txBox="1"/>
          <p:nvPr/>
        </p:nvSpPr>
        <p:spPr>
          <a:xfrm>
            <a:off x="6616488" y="4003247"/>
            <a:ext cx="287545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Jérémy Laurent (JLA)</a:t>
            </a:r>
          </a:p>
          <a:p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Alexandre Dufour (ADU)</a:t>
            </a:r>
          </a:p>
        </p:txBody>
      </p:sp>
      <p:sp>
        <p:nvSpPr>
          <p:cNvPr id="36" name="ZoneTexte 35">
            <a:extLst>
              <a:ext uri="{FF2B5EF4-FFF2-40B4-BE49-F238E27FC236}">
                <a16:creationId xmlns:a16="http://schemas.microsoft.com/office/drawing/2014/main" id="{3A12A57B-511F-4F13-B88F-5B0028CD5549}"/>
              </a:ext>
            </a:extLst>
          </p:cNvPr>
          <p:cNvSpPr txBox="1"/>
          <p:nvPr/>
        </p:nvSpPr>
        <p:spPr>
          <a:xfrm>
            <a:off x="6616488" y="5077837"/>
            <a:ext cx="28754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Jérémy Laurent (JLA)</a:t>
            </a:r>
          </a:p>
        </p:txBody>
      </p:sp>
    </p:spTree>
    <p:extLst>
      <p:ext uri="{BB962C8B-B14F-4D97-AF65-F5344CB8AC3E}">
        <p14:creationId xmlns:p14="http://schemas.microsoft.com/office/powerpoint/2010/main" val="3613019942"/>
      </p:ext>
    </p:extLst>
  </p:cSld>
  <p:clrMapOvr>
    <a:masterClrMapping/>
  </p:clrMapOvr>
  <p:transition spd="slow"/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C401337-C7CB-41A6-8CE0-3585D7CA23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3CF5856C-2DCC-4224-858C-F72B9191D8C8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F265E1-D21D-4CB3-BB3B-268924D2495C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3F4D2D-2973-4ACC-B192-B9B9C062B26E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Bilan</a:t>
            </a:r>
            <a:endParaRPr lang="fr-FR" sz="4400" b="1" dirty="0">
              <a:solidFill>
                <a:schemeClr val="bg1"/>
              </a:solidFill>
            </a:endParaRP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99184F4E-E786-41F7-8FF2-DF0C64D502E1}"/>
              </a:ext>
            </a:extLst>
          </p:cNvPr>
          <p:cNvGrpSpPr/>
          <p:nvPr/>
        </p:nvGrpSpPr>
        <p:grpSpPr>
          <a:xfrm>
            <a:off x="81856" y="6071877"/>
            <a:ext cx="731876" cy="696657"/>
            <a:chOff x="81856" y="6268713"/>
            <a:chExt cx="536895" cy="499821"/>
          </a:xfrm>
        </p:grpSpPr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id="{300700A6-66DC-4417-9777-770A67377095}"/>
                </a:ext>
              </a:extLst>
            </p:cNvPr>
            <p:cNvSpPr/>
            <p:nvPr/>
          </p:nvSpPr>
          <p:spPr>
            <a:xfrm>
              <a:off x="152777" y="6331654"/>
              <a:ext cx="395052" cy="371527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/>
                <a:t>19</a:t>
              </a:r>
              <a:endParaRPr lang="fr-FR" sz="700" dirty="0"/>
            </a:p>
          </p:txBody>
        </p:sp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BD9E1393-A259-4000-9F24-9578D1A470BF}"/>
                </a:ext>
              </a:extLst>
            </p:cNvPr>
            <p:cNvSpPr/>
            <p:nvPr/>
          </p:nvSpPr>
          <p:spPr>
            <a:xfrm>
              <a:off x="81856" y="6268713"/>
              <a:ext cx="536895" cy="499821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87" name="Picture 8" descr="Image associÃ©e">
            <a:extLst>
              <a:ext uri="{FF2B5EF4-FFF2-40B4-BE49-F238E27FC236}">
                <a16:creationId xmlns:a16="http://schemas.microsoft.com/office/drawing/2014/main" id="{0090572A-2667-48E1-A1CE-342BF56B96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1672" y="6161343"/>
            <a:ext cx="1810327" cy="69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ZoneTexte 46">
            <a:extLst>
              <a:ext uri="{FF2B5EF4-FFF2-40B4-BE49-F238E27FC236}">
                <a16:creationId xmlns:a16="http://schemas.microsoft.com/office/drawing/2014/main" id="{35EC63A0-A045-400D-9A7E-1AF94C5EDCE3}"/>
              </a:ext>
            </a:extLst>
          </p:cNvPr>
          <p:cNvSpPr txBox="1"/>
          <p:nvPr/>
        </p:nvSpPr>
        <p:spPr>
          <a:xfrm>
            <a:off x="221672" y="1300870"/>
            <a:ext cx="2102489" cy="1335276"/>
          </a:xfrm>
          <a:prstGeom prst="rect">
            <a:avLst/>
          </a:prstGeom>
          <a:noFill/>
        </p:spPr>
        <p:txBody>
          <a:bodyPr wrap="square" lIns="103163" tIns="51581" rIns="103163" bIns="51581" rtlCol="0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1/ </a:t>
            </a:r>
            <a:r>
              <a:rPr lang="fr-FR" sz="1000" b="1" u="sng" dirty="0">
                <a:solidFill>
                  <a:schemeClr val="bg1"/>
                </a:solidFill>
                <a:latin typeface="Reem Kufi Regular"/>
              </a:rPr>
              <a:t>Présentation du projet</a:t>
            </a:r>
          </a:p>
          <a:p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Context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Problémat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Objectifs</a:t>
            </a:r>
          </a:p>
          <a:p>
            <a:pPr marL="226958" lvl="1"/>
            <a:r>
              <a:rPr lang="fr-FR" sz="1000" dirty="0">
                <a:solidFill>
                  <a:schemeClr val="bg1"/>
                </a:solidFill>
              </a:rPr>
              <a:t>  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FC979EDB-05FB-4D1F-ADF4-867969F21A2E}"/>
              </a:ext>
            </a:extLst>
          </p:cNvPr>
          <p:cNvSpPr/>
          <p:nvPr/>
        </p:nvSpPr>
        <p:spPr>
          <a:xfrm>
            <a:off x="215033" y="2693441"/>
            <a:ext cx="2173758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2/Démarche employée</a:t>
            </a:r>
          </a:p>
          <a:p>
            <a:endParaRPr lang="fr-FR" sz="1000" b="1" u="sng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Grande ligne du projet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Moteur de recherche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Les applications utilisant le machine Learning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50E00549-4D24-40B6-AE29-0024A82AE604}"/>
              </a:ext>
            </a:extLst>
          </p:cNvPr>
          <p:cNvSpPr/>
          <p:nvPr/>
        </p:nvSpPr>
        <p:spPr>
          <a:xfrm>
            <a:off x="221673" y="4047368"/>
            <a:ext cx="2167118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rgbClr val="FF0000"/>
                </a:solidFill>
              </a:rPr>
              <a:t>3/ Bilan</a:t>
            </a:r>
            <a:br>
              <a:rPr lang="fr-FR" sz="1000" dirty="0">
                <a:solidFill>
                  <a:srgbClr val="FF0000"/>
                </a:solidFill>
              </a:rPr>
            </a:br>
            <a:endParaRPr lang="fr-FR" sz="1000" dirty="0">
              <a:solidFill>
                <a:srgbClr val="FF0000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rgbClr val="FF0000"/>
                </a:solidFill>
              </a:rPr>
              <a:t>Bilan Techn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Personnel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19124753-FC40-4827-92D9-8A44D3419E47}"/>
              </a:ext>
            </a:extLst>
          </p:cNvPr>
          <p:cNvSpPr txBox="1"/>
          <p:nvPr/>
        </p:nvSpPr>
        <p:spPr>
          <a:xfrm>
            <a:off x="2128075" y="1304188"/>
            <a:ext cx="309155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dirty="0">
                <a:solidFill>
                  <a:schemeClr val="bg1"/>
                </a:solidFill>
              </a:rPr>
              <a:t>Répartition des applications</a:t>
            </a: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F0F0F6A9-7320-4DAF-8886-BF5CB332FEE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581687" y="3769217"/>
            <a:ext cx="666597" cy="670792"/>
          </a:xfrm>
          <a:prstGeom prst="rect">
            <a:avLst/>
          </a:prstGeom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BAD7B244-E401-4345-9128-C2A89A18AFE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5833" y="4617554"/>
            <a:ext cx="851334" cy="851334"/>
          </a:xfrm>
          <a:prstGeom prst="rect">
            <a:avLst/>
          </a:prstGeom>
        </p:spPr>
      </p:pic>
      <p:pic>
        <p:nvPicPr>
          <p:cNvPr id="17" name="Image 16" descr="Une image contenant objet&#10;&#10;Description générée automatiquement">
            <a:extLst>
              <a:ext uri="{FF2B5EF4-FFF2-40B4-BE49-F238E27FC236}">
                <a16:creationId xmlns:a16="http://schemas.microsoft.com/office/drawing/2014/main" id="{FD82791F-C443-4808-9F8F-B04EF969428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1687" y="2668641"/>
            <a:ext cx="815480" cy="815480"/>
          </a:xfrm>
          <a:prstGeom prst="rect">
            <a:avLst/>
          </a:prstGeom>
        </p:spPr>
      </p:pic>
      <p:sp>
        <p:nvSpPr>
          <p:cNvPr id="18" name="ZoneTexte 17">
            <a:extLst>
              <a:ext uri="{FF2B5EF4-FFF2-40B4-BE49-F238E27FC236}">
                <a16:creationId xmlns:a16="http://schemas.microsoft.com/office/drawing/2014/main" id="{D0F288BF-E30F-4143-9D14-A22413B48FB7}"/>
              </a:ext>
            </a:extLst>
          </p:cNvPr>
          <p:cNvSpPr txBox="1"/>
          <p:nvPr/>
        </p:nvSpPr>
        <p:spPr>
          <a:xfrm>
            <a:off x="3692312" y="4858555"/>
            <a:ext cx="231873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Analyse de spam</a:t>
            </a: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95EC69F7-4670-4CF8-A1F2-882CFD368EB5}"/>
              </a:ext>
            </a:extLst>
          </p:cNvPr>
          <p:cNvSpPr txBox="1"/>
          <p:nvPr/>
        </p:nvSpPr>
        <p:spPr>
          <a:xfrm>
            <a:off x="2968556" y="3925463"/>
            <a:ext cx="37662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Moteur de recherche</a:t>
            </a:r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2F5A9BBC-291E-4DFF-927C-7225D02BF9B9}"/>
              </a:ext>
            </a:extLst>
          </p:cNvPr>
          <p:cNvSpPr txBox="1"/>
          <p:nvPr/>
        </p:nvSpPr>
        <p:spPr>
          <a:xfrm>
            <a:off x="3377983" y="2912258"/>
            <a:ext cx="31930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Catégorisation de texte</a:t>
            </a:r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EA224464-F5AC-4A09-839F-ECEBBB038695}"/>
              </a:ext>
            </a:extLst>
          </p:cNvPr>
          <p:cNvSpPr txBox="1"/>
          <p:nvPr/>
        </p:nvSpPr>
        <p:spPr>
          <a:xfrm>
            <a:off x="3345504" y="1933858"/>
            <a:ext cx="32063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Analyse de sentiment</a:t>
            </a:r>
          </a:p>
        </p:txBody>
      </p:sp>
      <p:pic>
        <p:nvPicPr>
          <p:cNvPr id="24" name="Image 23">
            <a:extLst>
              <a:ext uri="{FF2B5EF4-FFF2-40B4-BE49-F238E27FC236}">
                <a16:creationId xmlns:a16="http://schemas.microsoft.com/office/drawing/2014/main" id="{9D8920BC-619C-4F92-B993-8730C8216E0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94094" y="1818994"/>
            <a:ext cx="635009" cy="635009"/>
          </a:xfrm>
          <a:prstGeom prst="rect">
            <a:avLst/>
          </a:prstGeom>
        </p:spPr>
      </p:pic>
      <p:cxnSp>
        <p:nvCxnSpPr>
          <p:cNvPr id="25" name="Connecteur droit 24">
            <a:extLst>
              <a:ext uri="{FF2B5EF4-FFF2-40B4-BE49-F238E27FC236}">
                <a16:creationId xmlns:a16="http://schemas.microsoft.com/office/drawing/2014/main" id="{6A66B907-4911-4553-AD90-E83C6293A80E}"/>
              </a:ext>
            </a:extLst>
          </p:cNvPr>
          <p:cNvCxnSpPr>
            <a:cxnSpLocks/>
          </p:cNvCxnSpPr>
          <p:nvPr/>
        </p:nvCxnSpPr>
        <p:spPr>
          <a:xfrm>
            <a:off x="2517790" y="2565697"/>
            <a:ext cx="967420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necteur droit 25">
            <a:extLst>
              <a:ext uri="{FF2B5EF4-FFF2-40B4-BE49-F238E27FC236}">
                <a16:creationId xmlns:a16="http://schemas.microsoft.com/office/drawing/2014/main" id="{69BA0316-476F-4F54-9516-5CA67EE49DEA}"/>
              </a:ext>
            </a:extLst>
          </p:cNvPr>
          <p:cNvCxnSpPr>
            <a:cxnSpLocks/>
          </p:cNvCxnSpPr>
          <p:nvPr/>
        </p:nvCxnSpPr>
        <p:spPr>
          <a:xfrm>
            <a:off x="2517790" y="3628331"/>
            <a:ext cx="967420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necteur droit 26">
            <a:extLst>
              <a:ext uri="{FF2B5EF4-FFF2-40B4-BE49-F238E27FC236}">
                <a16:creationId xmlns:a16="http://schemas.microsoft.com/office/drawing/2014/main" id="{23402F10-1A7B-4CA8-BBB2-3B1C2DD2FA9D}"/>
              </a:ext>
            </a:extLst>
          </p:cNvPr>
          <p:cNvCxnSpPr>
            <a:cxnSpLocks/>
          </p:cNvCxnSpPr>
          <p:nvPr/>
        </p:nvCxnSpPr>
        <p:spPr>
          <a:xfrm>
            <a:off x="2517790" y="4574811"/>
            <a:ext cx="967421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necteur droit 27">
            <a:extLst>
              <a:ext uri="{FF2B5EF4-FFF2-40B4-BE49-F238E27FC236}">
                <a16:creationId xmlns:a16="http://schemas.microsoft.com/office/drawing/2014/main" id="{44C471CB-0783-4AFD-85F7-6ED633A1DA26}"/>
              </a:ext>
            </a:extLst>
          </p:cNvPr>
          <p:cNvCxnSpPr>
            <a:cxnSpLocks/>
          </p:cNvCxnSpPr>
          <p:nvPr/>
        </p:nvCxnSpPr>
        <p:spPr>
          <a:xfrm>
            <a:off x="2517790" y="5511631"/>
            <a:ext cx="967420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necteur droit 28">
            <a:extLst>
              <a:ext uri="{FF2B5EF4-FFF2-40B4-BE49-F238E27FC236}">
                <a16:creationId xmlns:a16="http://schemas.microsoft.com/office/drawing/2014/main" id="{739B331F-6F63-46F4-B14D-E4AC3AAA9659}"/>
              </a:ext>
            </a:extLst>
          </p:cNvPr>
          <p:cNvCxnSpPr>
            <a:cxnSpLocks/>
          </p:cNvCxnSpPr>
          <p:nvPr/>
        </p:nvCxnSpPr>
        <p:spPr>
          <a:xfrm>
            <a:off x="6571070" y="1770470"/>
            <a:ext cx="0" cy="374116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ZoneTexte 32">
            <a:extLst>
              <a:ext uri="{FF2B5EF4-FFF2-40B4-BE49-F238E27FC236}">
                <a16:creationId xmlns:a16="http://schemas.microsoft.com/office/drawing/2014/main" id="{A2AF2095-89E2-45F8-B945-CB3B7322934B}"/>
              </a:ext>
            </a:extLst>
          </p:cNvPr>
          <p:cNvSpPr txBox="1"/>
          <p:nvPr/>
        </p:nvSpPr>
        <p:spPr>
          <a:xfrm>
            <a:off x="6722452" y="1933576"/>
            <a:ext cx="28754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Juliette Vaton (JVA)</a:t>
            </a:r>
          </a:p>
        </p:txBody>
      </p:sp>
      <p:sp>
        <p:nvSpPr>
          <p:cNvPr id="34" name="ZoneTexte 33">
            <a:extLst>
              <a:ext uri="{FF2B5EF4-FFF2-40B4-BE49-F238E27FC236}">
                <a16:creationId xmlns:a16="http://schemas.microsoft.com/office/drawing/2014/main" id="{A4440B9B-9F66-4403-AB4A-6519F4D6A1C3}"/>
              </a:ext>
            </a:extLst>
          </p:cNvPr>
          <p:cNvSpPr txBox="1"/>
          <p:nvPr/>
        </p:nvSpPr>
        <p:spPr>
          <a:xfrm>
            <a:off x="6656746" y="2906300"/>
            <a:ext cx="28754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Gérome Ferrand (GFE)</a:t>
            </a:r>
          </a:p>
        </p:txBody>
      </p:sp>
      <p:sp>
        <p:nvSpPr>
          <p:cNvPr id="35" name="ZoneTexte 34">
            <a:extLst>
              <a:ext uri="{FF2B5EF4-FFF2-40B4-BE49-F238E27FC236}">
                <a16:creationId xmlns:a16="http://schemas.microsoft.com/office/drawing/2014/main" id="{5EA82CCD-FEF9-4B18-AA87-2E35189F60DB}"/>
              </a:ext>
            </a:extLst>
          </p:cNvPr>
          <p:cNvSpPr txBox="1"/>
          <p:nvPr/>
        </p:nvSpPr>
        <p:spPr>
          <a:xfrm>
            <a:off x="6616488" y="3923499"/>
            <a:ext cx="28754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Alexandre Dufour (ADU)</a:t>
            </a:r>
          </a:p>
        </p:txBody>
      </p:sp>
      <p:sp>
        <p:nvSpPr>
          <p:cNvPr id="36" name="ZoneTexte 35">
            <a:extLst>
              <a:ext uri="{FF2B5EF4-FFF2-40B4-BE49-F238E27FC236}">
                <a16:creationId xmlns:a16="http://schemas.microsoft.com/office/drawing/2014/main" id="{3A12A57B-511F-4F13-B88F-5B0028CD5549}"/>
              </a:ext>
            </a:extLst>
          </p:cNvPr>
          <p:cNvSpPr txBox="1"/>
          <p:nvPr/>
        </p:nvSpPr>
        <p:spPr>
          <a:xfrm>
            <a:off x="6616488" y="4847132"/>
            <a:ext cx="28754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Jérémy Laurent (JLA)</a:t>
            </a:r>
          </a:p>
        </p:txBody>
      </p:sp>
      <p:cxnSp>
        <p:nvCxnSpPr>
          <p:cNvPr id="37" name="Connecteur droit 36">
            <a:extLst>
              <a:ext uri="{FF2B5EF4-FFF2-40B4-BE49-F238E27FC236}">
                <a16:creationId xmlns:a16="http://schemas.microsoft.com/office/drawing/2014/main" id="{77F47E2B-FD9A-4853-B9E4-07D18B4D9BC0}"/>
              </a:ext>
            </a:extLst>
          </p:cNvPr>
          <p:cNvCxnSpPr>
            <a:cxnSpLocks/>
          </p:cNvCxnSpPr>
          <p:nvPr/>
        </p:nvCxnSpPr>
        <p:spPr>
          <a:xfrm>
            <a:off x="6571070" y="2668641"/>
            <a:ext cx="0" cy="349096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necteur droit 37">
            <a:extLst>
              <a:ext uri="{FF2B5EF4-FFF2-40B4-BE49-F238E27FC236}">
                <a16:creationId xmlns:a16="http://schemas.microsoft.com/office/drawing/2014/main" id="{20643C15-C6BB-4E7A-86B7-9031C8036ECC}"/>
              </a:ext>
            </a:extLst>
          </p:cNvPr>
          <p:cNvCxnSpPr>
            <a:cxnSpLocks/>
          </p:cNvCxnSpPr>
          <p:nvPr/>
        </p:nvCxnSpPr>
        <p:spPr>
          <a:xfrm>
            <a:off x="2517791" y="6159605"/>
            <a:ext cx="967420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ZoneTexte 38">
            <a:extLst>
              <a:ext uri="{FF2B5EF4-FFF2-40B4-BE49-F238E27FC236}">
                <a16:creationId xmlns:a16="http://schemas.microsoft.com/office/drawing/2014/main" id="{52F32284-9237-4BEC-B83F-0AA8E467F07C}"/>
              </a:ext>
            </a:extLst>
          </p:cNvPr>
          <p:cNvSpPr txBox="1"/>
          <p:nvPr/>
        </p:nvSpPr>
        <p:spPr>
          <a:xfrm>
            <a:off x="6656746" y="5605607"/>
            <a:ext cx="28754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Gérome Ferrand (GFE)</a:t>
            </a:r>
          </a:p>
        </p:txBody>
      </p:sp>
      <p:pic>
        <p:nvPicPr>
          <p:cNvPr id="4" name="Graphique 3" descr="Document">
            <a:extLst>
              <a:ext uri="{FF2B5EF4-FFF2-40B4-BE49-F238E27FC236}">
                <a16:creationId xmlns:a16="http://schemas.microsoft.com/office/drawing/2014/main" id="{E89345BF-63CB-4DB3-947E-7DD361AD5BB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2738451" y="5591069"/>
            <a:ext cx="509833" cy="509833"/>
          </a:xfrm>
          <a:prstGeom prst="rect">
            <a:avLst/>
          </a:prstGeom>
        </p:spPr>
      </p:pic>
      <p:sp>
        <p:nvSpPr>
          <p:cNvPr id="40" name="ZoneTexte 39">
            <a:extLst>
              <a:ext uri="{FF2B5EF4-FFF2-40B4-BE49-F238E27FC236}">
                <a16:creationId xmlns:a16="http://schemas.microsoft.com/office/drawing/2014/main" id="{6BBDC852-108A-4A60-B4FF-3DE28EC51704}"/>
              </a:ext>
            </a:extLst>
          </p:cNvPr>
          <p:cNvSpPr txBox="1"/>
          <p:nvPr/>
        </p:nvSpPr>
        <p:spPr>
          <a:xfrm>
            <a:off x="3734564" y="5605607"/>
            <a:ext cx="231873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Résumer de texte</a:t>
            </a:r>
          </a:p>
        </p:txBody>
      </p:sp>
    </p:spTree>
    <p:extLst>
      <p:ext uri="{BB962C8B-B14F-4D97-AF65-F5344CB8AC3E}">
        <p14:creationId xmlns:p14="http://schemas.microsoft.com/office/powerpoint/2010/main" val="1164036152"/>
      </p:ext>
    </p:extLst>
  </p:cSld>
  <p:clrMapOvr>
    <a:masterClrMapping/>
  </p:clrMapOvr>
  <p:transition spd="slow"/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C401337-C7CB-41A6-8CE0-3585D7CA23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3CF5856C-2DCC-4224-858C-F72B9191D8C8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F265E1-D21D-4CB3-BB3B-268924D2495C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3F4D2D-2973-4ACC-B192-B9B9C062B26E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Bilan</a:t>
            </a:r>
            <a:endParaRPr lang="fr-FR" sz="4400" b="1" dirty="0">
              <a:solidFill>
                <a:schemeClr val="bg1"/>
              </a:solidFill>
            </a:endParaRP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99184F4E-E786-41F7-8FF2-DF0C64D502E1}"/>
              </a:ext>
            </a:extLst>
          </p:cNvPr>
          <p:cNvGrpSpPr/>
          <p:nvPr/>
        </p:nvGrpSpPr>
        <p:grpSpPr>
          <a:xfrm>
            <a:off x="81856" y="6071877"/>
            <a:ext cx="731876" cy="696657"/>
            <a:chOff x="81856" y="6268713"/>
            <a:chExt cx="536895" cy="499821"/>
          </a:xfrm>
        </p:grpSpPr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id="{300700A6-66DC-4417-9777-770A67377095}"/>
                </a:ext>
              </a:extLst>
            </p:cNvPr>
            <p:cNvSpPr/>
            <p:nvPr/>
          </p:nvSpPr>
          <p:spPr>
            <a:xfrm>
              <a:off x="152777" y="6331654"/>
              <a:ext cx="395052" cy="371527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/>
                <a:t>20</a:t>
              </a:r>
              <a:endParaRPr lang="fr-FR" sz="700" dirty="0"/>
            </a:p>
          </p:txBody>
        </p:sp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BD9E1393-A259-4000-9F24-9578D1A470BF}"/>
                </a:ext>
              </a:extLst>
            </p:cNvPr>
            <p:cNvSpPr/>
            <p:nvPr/>
          </p:nvSpPr>
          <p:spPr>
            <a:xfrm>
              <a:off x="81856" y="6268713"/>
              <a:ext cx="536895" cy="499821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87" name="Picture 8" descr="Image associÃ©e">
            <a:extLst>
              <a:ext uri="{FF2B5EF4-FFF2-40B4-BE49-F238E27FC236}">
                <a16:creationId xmlns:a16="http://schemas.microsoft.com/office/drawing/2014/main" id="{0090572A-2667-48E1-A1CE-342BF56B96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1672" y="6161343"/>
            <a:ext cx="1810327" cy="69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ZoneTexte 46">
            <a:extLst>
              <a:ext uri="{FF2B5EF4-FFF2-40B4-BE49-F238E27FC236}">
                <a16:creationId xmlns:a16="http://schemas.microsoft.com/office/drawing/2014/main" id="{35EC63A0-A045-400D-9A7E-1AF94C5EDCE3}"/>
              </a:ext>
            </a:extLst>
          </p:cNvPr>
          <p:cNvSpPr txBox="1"/>
          <p:nvPr/>
        </p:nvSpPr>
        <p:spPr>
          <a:xfrm>
            <a:off x="221672" y="1300870"/>
            <a:ext cx="2102489" cy="1335276"/>
          </a:xfrm>
          <a:prstGeom prst="rect">
            <a:avLst/>
          </a:prstGeom>
          <a:noFill/>
        </p:spPr>
        <p:txBody>
          <a:bodyPr wrap="square" lIns="103163" tIns="51581" rIns="103163" bIns="51581" rtlCol="0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1/ </a:t>
            </a:r>
            <a:r>
              <a:rPr lang="fr-FR" sz="1000" b="1" u="sng" dirty="0">
                <a:solidFill>
                  <a:schemeClr val="bg1"/>
                </a:solidFill>
                <a:latin typeface="Reem Kufi Regular"/>
              </a:rPr>
              <a:t>Présentation du projet</a:t>
            </a:r>
          </a:p>
          <a:p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Context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Problémat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Objectifs</a:t>
            </a:r>
          </a:p>
          <a:p>
            <a:pPr marL="226958" lvl="1"/>
            <a:r>
              <a:rPr lang="fr-FR" sz="1000" dirty="0">
                <a:solidFill>
                  <a:schemeClr val="bg1"/>
                </a:solidFill>
              </a:rPr>
              <a:t>  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FC979EDB-05FB-4D1F-ADF4-867969F21A2E}"/>
              </a:ext>
            </a:extLst>
          </p:cNvPr>
          <p:cNvSpPr/>
          <p:nvPr/>
        </p:nvSpPr>
        <p:spPr>
          <a:xfrm>
            <a:off x="215033" y="2693441"/>
            <a:ext cx="2173758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2/Démarche employée</a:t>
            </a:r>
          </a:p>
          <a:p>
            <a:endParaRPr lang="fr-FR" sz="1000" b="1" u="sng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Grande ligne du projet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Moteur de recherche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Les applications utilisant le machine Learning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50E00549-4D24-40B6-AE29-0024A82AE604}"/>
              </a:ext>
            </a:extLst>
          </p:cNvPr>
          <p:cNvSpPr/>
          <p:nvPr/>
        </p:nvSpPr>
        <p:spPr>
          <a:xfrm>
            <a:off x="221673" y="4047368"/>
            <a:ext cx="2167118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rgbClr val="FF0000"/>
                </a:solidFill>
              </a:rPr>
              <a:t>3/ Bilan</a:t>
            </a:r>
            <a:br>
              <a:rPr lang="fr-FR" sz="1000" dirty="0">
                <a:solidFill>
                  <a:srgbClr val="FF0000"/>
                </a:solidFill>
              </a:rPr>
            </a:br>
            <a:endParaRPr lang="fr-FR" sz="1000" dirty="0">
              <a:solidFill>
                <a:srgbClr val="FF0000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rgbClr val="FF0000"/>
                </a:solidFill>
              </a:rPr>
              <a:t>Bilan Techn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Personnel</a:t>
            </a:r>
          </a:p>
        </p:txBody>
      </p:sp>
      <p:pic>
        <p:nvPicPr>
          <p:cNvPr id="41" name="Image 40">
            <a:extLst>
              <a:ext uri="{FF2B5EF4-FFF2-40B4-BE49-F238E27FC236}">
                <a16:creationId xmlns:a16="http://schemas.microsoft.com/office/drawing/2014/main" id="{46F6DA04-1AD5-478E-BF2E-41CE0EAA3E0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413460" y="3516091"/>
            <a:ext cx="666597" cy="670792"/>
          </a:xfrm>
          <a:prstGeom prst="rect">
            <a:avLst/>
          </a:prstGeom>
        </p:spPr>
      </p:pic>
      <p:pic>
        <p:nvPicPr>
          <p:cNvPr id="42" name="Image 41">
            <a:extLst>
              <a:ext uri="{FF2B5EF4-FFF2-40B4-BE49-F238E27FC236}">
                <a16:creationId xmlns:a16="http://schemas.microsoft.com/office/drawing/2014/main" id="{5CDAC73B-A811-4331-95F7-35E921963DE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7606" y="4364428"/>
            <a:ext cx="851334" cy="851334"/>
          </a:xfrm>
          <a:prstGeom prst="rect">
            <a:avLst/>
          </a:prstGeom>
        </p:spPr>
      </p:pic>
      <p:pic>
        <p:nvPicPr>
          <p:cNvPr id="43" name="Image 42" descr="Une image contenant objet&#10;&#10;Description générée automatiquement">
            <a:extLst>
              <a:ext uri="{FF2B5EF4-FFF2-40B4-BE49-F238E27FC236}">
                <a16:creationId xmlns:a16="http://schemas.microsoft.com/office/drawing/2014/main" id="{D1904DD0-DCAE-4027-B9DE-E9374259349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9230" y="2515713"/>
            <a:ext cx="714278" cy="714278"/>
          </a:xfrm>
          <a:prstGeom prst="rect">
            <a:avLst/>
          </a:prstGeom>
        </p:spPr>
      </p:pic>
      <p:sp>
        <p:nvSpPr>
          <p:cNvPr id="44" name="ZoneTexte 43">
            <a:extLst>
              <a:ext uri="{FF2B5EF4-FFF2-40B4-BE49-F238E27FC236}">
                <a16:creationId xmlns:a16="http://schemas.microsoft.com/office/drawing/2014/main" id="{11481615-3905-419F-8083-1961C81E6EDF}"/>
              </a:ext>
            </a:extLst>
          </p:cNvPr>
          <p:cNvSpPr txBox="1"/>
          <p:nvPr/>
        </p:nvSpPr>
        <p:spPr>
          <a:xfrm>
            <a:off x="3547365" y="4447973"/>
            <a:ext cx="147575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Analyse de spam</a:t>
            </a:r>
          </a:p>
        </p:txBody>
      </p:sp>
      <p:sp>
        <p:nvSpPr>
          <p:cNvPr id="45" name="ZoneTexte 44">
            <a:extLst>
              <a:ext uri="{FF2B5EF4-FFF2-40B4-BE49-F238E27FC236}">
                <a16:creationId xmlns:a16="http://schemas.microsoft.com/office/drawing/2014/main" id="{7ACF0A4B-8EEF-4F54-93B6-FE5A33BB964E}"/>
              </a:ext>
            </a:extLst>
          </p:cNvPr>
          <p:cNvSpPr txBox="1"/>
          <p:nvPr/>
        </p:nvSpPr>
        <p:spPr>
          <a:xfrm>
            <a:off x="3329566" y="3536493"/>
            <a:ext cx="165701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Moteur de recherche</a:t>
            </a:r>
          </a:p>
        </p:txBody>
      </p:sp>
      <p:sp>
        <p:nvSpPr>
          <p:cNvPr id="46" name="ZoneTexte 45">
            <a:extLst>
              <a:ext uri="{FF2B5EF4-FFF2-40B4-BE49-F238E27FC236}">
                <a16:creationId xmlns:a16="http://schemas.microsoft.com/office/drawing/2014/main" id="{A8C5ACCB-D2F2-4042-A24E-273ED090597A}"/>
              </a:ext>
            </a:extLst>
          </p:cNvPr>
          <p:cNvSpPr txBox="1"/>
          <p:nvPr/>
        </p:nvSpPr>
        <p:spPr>
          <a:xfrm>
            <a:off x="3209757" y="2659132"/>
            <a:ext cx="194108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Catégorisation de texte</a:t>
            </a:r>
          </a:p>
        </p:txBody>
      </p:sp>
      <p:sp>
        <p:nvSpPr>
          <p:cNvPr id="50" name="ZoneTexte 49">
            <a:extLst>
              <a:ext uri="{FF2B5EF4-FFF2-40B4-BE49-F238E27FC236}">
                <a16:creationId xmlns:a16="http://schemas.microsoft.com/office/drawing/2014/main" id="{92BF5521-BA5D-4848-BBF9-F87305FDF982}"/>
              </a:ext>
            </a:extLst>
          </p:cNvPr>
          <p:cNvSpPr txBox="1"/>
          <p:nvPr/>
        </p:nvSpPr>
        <p:spPr>
          <a:xfrm>
            <a:off x="2866531" y="1579337"/>
            <a:ext cx="219167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Analyse de sentiment</a:t>
            </a:r>
          </a:p>
        </p:txBody>
      </p:sp>
      <p:pic>
        <p:nvPicPr>
          <p:cNvPr id="51" name="Image 50">
            <a:extLst>
              <a:ext uri="{FF2B5EF4-FFF2-40B4-BE49-F238E27FC236}">
                <a16:creationId xmlns:a16="http://schemas.microsoft.com/office/drawing/2014/main" id="{C1201528-BD4F-4F8E-8EF6-2B7AAEEC13C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5867" y="1565868"/>
            <a:ext cx="635009" cy="635009"/>
          </a:xfrm>
          <a:prstGeom prst="rect">
            <a:avLst/>
          </a:prstGeom>
        </p:spPr>
      </p:pic>
      <p:cxnSp>
        <p:nvCxnSpPr>
          <p:cNvPr id="52" name="Connecteur droit 51">
            <a:extLst>
              <a:ext uri="{FF2B5EF4-FFF2-40B4-BE49-F238E27FC236}">
                <a16:creationId xmlns:a16="http://schemas.microsoft.com/office/drawing/2014/main" id="{78FD91B5-62A3-424A-A794-4A5A6601A3BD}"/>
              </a:ext>
            </a:extLst>
          </p:cNvPr>
          <p:cNvCxnSpPr>
            <a:cxnSpLocks/>
          </p:cNvCxnSpPr>
          <p:nvPr/>
        </p:nvCxnSpPr>
        <p:spPr>
          <a:xfrm>
            <a:off x="2349563" y="2312571"/>
            <a:ext cx="943761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Connecteur droit 52">
            <a:extLst>
              <a:ext uri="{FF2B5EF4-FFF2-40B4-BE49-F238E27FC236}">
                <a16:creationId xmlns:a16="http://schemas.microsoft.com/office/drawing/2014/main" id="{70C928D2-7F2D-4094-A4C8-AA67541829C4}"/>
              </a:ext>
            </a:extLst>
          </p:cNvPr>
          <p:cNvCxnSpPr>
            <a:cxnSpLocks/>
          </p:cNvCxnSpPr>
          <p:nvPr/>
        </p:nvCxnSpPr>
        <p:spPr>
          <a:xfrm>
            <a:off x="2349563" y="3375205"/>
            <a:ext cx="943761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Connecteur droit 53">
            <a:extLst>
              <a:ext uri="{FF2B5EF4-FFF2-40B4-BE49-F238E27FC236}">
                <a16:creationId xmlns:a16="http://schemas.microsoft.com/office/drawing/2014/main" id="{B8BB1A88-D17F-409A-AC48-7ED22145EF1E}"/>
              </a:ext>
            </a:extLst>
          </p:cNvPr>
          <p:cNvCxnSpPr>
            <a:cxnSpLocks/>
          </p:cNvCxnSpPr>
          <p:nvPr/>
        </p:nvCxnSpPr>
        <p:spPr>
          <a:xfrm>
            <a:off x="2349563" y="4321685"/>
            <a:ext cx="943761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necteur droit 54">
            <a:extLst>
              <a:ext uri="{FF2B5EF4-FFF2-40B4-BE49-F238E27FC236}">
                <a16:creationId xmlns:a16="http://schemas.microsoft.com/office/drawing/2014/main" id="{EF5CC717-43CE-47BD-9019-CD1C1FE9E759}"/>
              </a:ext>
            </a:extLst>
          </p:cNvPr>
          <p:cNvCxnSpPr>
            <a:cxnSpLocks/>
          </p:cNvCxnSpPr>
          <p:nvPr/>
        </p:nvCxnSpPr>
        <p:spPr>
          <a:xfrm>
            <a:off x="2349563" y="5258505"/>
            <a:ext cx="943761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Connecteur droit 55">
            <a:extLst>
              <a:ext uri="{FF2B5EF4-FFF2-40B4-BE49-F238E27FC236}">
                <a16:creationId xmlns:a16="http://schemas.microsoft.com/office/drawing/2014/main" id="{0DCF5B97-8866-471B-82AC-30182B67EF2F}"/>
              </a:ext>
            </a:extLst>
          </p:cNvPr>
          <p:cNvCxnSpPr>
            <a:cxnSpLocks/>
          </p:cNvCxnSpPr>
          <p:nvPr/>
        </p:nvCxnSpPr>
        <p:spPr>
          <a:xfrm>
            <a:off x="5150840" y="1504624"/>
            <a:ext cx="0" cy="440260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ZoneTexte 56">
            <a:extLst>
              <a:ext uri="{FF2B5EF4-FFF2-40B4-BE49-F238E27FC236}">
                <a16:creationId xmlns:a16="http://schemas.microsoft.com/office/drawing/2014/main" id="{B2A50477-7AA9-412A-BC1A-1C984A73074B}"/>
              </a:ext>
            </a:extLst>
          </p:cNvPr>
          <p:cNvSpPr txBox="1"/>
          <p:nvPr/>
        </p:nvSpPr>
        <p:spPr>
          <a:xfrm>
            <a:off x="5200094" y="1565868"/>
            <a:ext cx="531335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Récupération de tweet pour évaluer le sentiment d’une publication</a:t>
            </a:r>
          </a:p>
        </p:txBody>
      </p:sp>
      <p:sp>
        <p:nvSpPr>
          <p:cNvPr id="58" name="ZoneTexte 57">
            <a:extLst>
              <a:ext uri="{FF2B5EF4-FFF2-40B4-BE49-F238E27FC236}">
                <a16:creationId xmlns:a16="http://schemas.microsoft.com/office/drawing/2014/main" id="{0D7D02AE-FDD7-4685-BE45-07972AE354C9}"/>
              </a:ext>
            </a:extLst>
          </p:cNvPr>
          <p:cNvSpPr txBox="1"/>
          <p:nvPr/>
        </p:nvSpPr>
        <p:spPr>
          <a:xfrm>
            <a:off x="5212675" y="2490559"/>
            <a:ext cx="489429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Récupération de texte et rangement automatique par catégorie</a:t>
            </a:r>
          </a:p>
        </p:txBody>
      </p:sp>
      <p:sp>
        <p:nvSpPr>
          <p:cNvPr id="59" name="ZoneTexte 58">
            <a:extLst>
              <a:ext uri="{FF2B5EF4-FFF2-40B4-BE49-F238E27FC236}">
                <a16:creationId xmlns:a16="http://schemas.microsoft.com/office/drawing/2014/main" id="{426AECAF-87F3-429D-B4D6-CCA259544776}"/>
              </a:ext>
            </a:extLst>
          </p:cNvPr>
          <p:cNvSpPr txBox="1"/>
          <p:nvPr/>
        </p:nvSpPr>
        <p:spPr>
          <a:xfrm>
            <a:off x="5226108" y="3382935"/>
            <a:ext cx="502204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Réalisation d’une application permettant de trouver le texte le plus pertinent à partir d’une recherche de mot</a:t>
            </a:r>
          </a:p>
        </p:txBody>
      </p:sp>
      <p:sp>
        <p:nvSpPr>
          <p:cNvPr id="60" name="ZoneTexte 59">
            <a:extLst>
              <a:ext uri="{FF2B5EF4-FFF2-40B4-BE49-F238E27FC236}">
                <a16:creationId xmlns:a16="http://schemas.microsoft.com/office/drawing/2014/main" id="{DB0000D0-9A32-431D-9A8D-A07B1F75D263}"/>
              </a:ext>
            </a:extLst>
          </p:cNvPr>
          <p:cNvSpPr txBox="1"/>
          <p:nvPr/>
        </p:nvSpPr>
        <p:spPr>
          <a:xfrm>
            <a:off x="5235749" y="4391577"/>
            <a:ext cx="484814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Réalisation d’une application permettant de vérifier si le texte saisie est un SPAM</a:t>
            </a:r>
          </a:p>
        </p:txBody>
      </p:sp>
      <p:cxnSp>
        <p:nvCxnSpPr>
          <p:cNvPr id="61" name="Connecteur droit 60">
            <a:extLst>
              <a:ext uri="{FF2B5EF4-FFF2-40B4-BE49-F238E27FC236}">
                <a16:creationId xmlns:a16="http://schemas.microsoft.com/office/drawing/2014/main" id="{CB361C5F-FBF0-4F69-8172-D9E4C1E5270A}"/>
              </a:ext>
            </a:extLst>
          </p:cNvPr>
          <p:cNvCxnSpPr>
            <a:cxnSpLocks/>
          </p:cNvCxnSpPr>
          <p:nvPr/>
        </p:nvCxnSpPr>
        <p:spPr>
          <a:xfrm>
            <a:off x="10494269" y="1487271"/>
            <a:ext cx="8302" cy="4419956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2" name="Image 61">
            <a:extLst>
              <a:ext uri="{FF2B5EF4-FFF2-40B4-BE49-F238E27FC236}">
                <a16:creationId xmlns:a16="http://schemas.microsoft.com/office/drawing/2014/main" id="{D883FB91-385C-498A-8E44-DBBA732638B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5867" y="1565868"/>
            <a:ext cx="635009" cy="635009"/>
          </a:xfrm>
          <a:prstGeom prst="rect">
            <a:avLst/>
          </a:prstGeom>
        </p:spPr>
      </p:pic>
      <p:cxnSp>
        <p:nvCxnSpPr>
          <p:cNvPr id="63" name="Connecteur droit 62">
            <a:extLst>
              <a:ext uri="{FF2B5EF4-FFF2-40B4-BE49-F238E27FC236}">
                <a16:creationId xmlns:a16="http://schemas.microsoft.com/office/drawing/2014/main" id="{4586385E-73B2-41CA-A69D-06DB5AEBFD98}"/>
              </a:ext>
            </a:extLst>
          </p:cNvPr>
          <p:cNvCxnSpPr>
            <a:cxnSpLocks/>
          </p:cNvCxnSpPr>
          <p:nvPr/>
        </p:nvCxnSpPr>
        <p:spPr>
          <a:xfrm>
            <a:off x="11787177" y="1517344"/>
            <a:ext cx="0" cy="4389883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ZoneTexte 63">
            <a:extLst>
              <a:ext uri="{FF2B5EF4-FFF2-40B4-BE49-F238E27FC236}">
                <a16:creationId xmlns:a16="http://schemas.microsoft.com/office/drawing/2014/main" id="{531EE42A-DE9C-4388-AE17-44BE0B0118CE}"/>
              </a:ext>
            </a:extLst>
          </p:cNvPr>
          <p:cNvSpPr txBox="1"/>
          <p:nvPr/>
        </p:nvSpPr>
        <p:spPr>
          <a:xfrm>
            <a:off x="2349563" y="976080"/>
            <a:ext cx="245464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dirty="0">
                <a:solidFill>
                  <a:schemeClr val="bg1"/>
                </a:solidFill>
              </a:rPr>
              <a:t>Réponse aux objectifs</a:t>
            </a: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95F923D4-D247-477A-B76E-B69EC7542C9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576629" y="4845779"/>
            <a:ext cx="1198286" cy="270911"/>
          </a:xfrm>
          <a:prstGeom prst="rect">
            <a:avLst/>
          </a:prstGeom>
        </p:spPr>
      </p:pic>
      <p:pic>
        <p:nvPicPr>
          <p:cNvPr id="5" name="Graphique 4" descr="Coche">
            <a:extLst>
              <a:ext uri="{FF2B5EF4-FFF2-40B4-BE49-F238E27FC236}">
                <a16:creationId xmlns:a16="http://schemas.microsoft.com/office/drawing/2014/main" id="{A2435DCC-1C36-4AB3-B0BE-CA1756954D09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0904641" y="4333817"/>
            <a:ext cx="554019" cy="554019"/>
          </a:xfrm>
          <a:prstGeom prst="rect">
            <a:avLst/>
          </a:prstGeom>
        </p:spPr>
      </p:pic>
      <p:pic>
        <p:nvPicPr>
          <p:cNvPr id="66" name="Graphique 65" descr="Coche">
            <a:extLst>
              <a:ext uri="{FF2B5EF4-FFF2-40B4-BE49-F238E27FC236}">
                <a16:creationId xmlns:a16="http://schemas.microsoft.com/office/drawing/2014/main" id="{0A461D5D-D868-4744-8735-666236C11E2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0881565" y="3561565"/>
            <a:ext cx="554019" cy="554019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86AF5804-D7C9-4902-AA54-BFAA97E8AEE1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r="47217" b="4858"/>
          <a:stretch/>
        </p:blipFill>
        <p:spPr>
          <a:xfrm>
            <a:off x="10576629" y="3047050"/>
            <a:ext cx="1147370" cy="226556"/>
          </a:xfrm>
          <a:prstGeom prst="rect">
            <a:avLst/>
          </a:prstGeom>
        </p:spPr>
      </p:pic>
      <p:pic>
        <p:nvPicPr>
          <p:cNvPr id="67" name="Graphique 66" descr="Coche">
            <a:extLst>
              <a:ext uri="{FF2B5EF4-FFF2-40B4-BE49-F238E27FC236}">
                <a16:creationId xmlns:a16="http://schemas.microsoft.com/office/drawing/2014/main" id="{5DDC24F0-881B-43F6-872B-AECF1E0F3076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0904641" y="2423140"/>
            <a:ext cx="554019" cy="554019"/>
          </a:xfrm>
          <a:prstGeom prst="rect">
            <a:avLst/>
          </a:prstGeom>
        </p:spPr>
      </p:pic>
      <p:pic>
        <p:nvPicPr>
          <p:cNvPr id="68" name="Graphique 67" descr="Coche">
            <a:extLst>
              <a:ext uri="{FF2B5EF4-FFF2-40B4-BE49-F238E27FC236}">
                <a16:creationId xmlns:a16="http://schemas.microsoft.com/office/drawing/2014/main" id="{8A3DF2D0-B553-40FE-9D23-48BC8180D036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0909048" y="1710478"/>
            <a:ext cx="554019" cy="554019"/>
          </a:xfrm>
          <a:prstGeom prst="rect">
            <a:avLst/>
          </a:prstGeom>
        </p:spPr>
      </p:pic>
      <p:cxnSp>
        <p:nvCxnSpPr>
          <p:cNvPr id="70" name="Connecteur droit 69">
            <a:extLst>
              <a:ext uri="{FF2B5EF4-FFF2-40B4-BE49-F238E27FC236}">
                <a16:creationId xmlns:a16="http://schemas.microsoft.com/office/drawing/2014/main" id="{03932896-3607-4930-B258-9A6652597FBD}"/>
              </a:ext>
            </a:extLst>
          </p:cNvPr>
          <p:cNvCxnSpPr>
            <a:cxnSpLocks/>
          </p:cNvCxnSpPr>
          <p:nvPr/>
        </p:nvCxnSpPr>
        <p:spPr>
          <a:xfrm flipV="1">
            <a:off x="2324162" y="5907227"/>
            <a:ext cx="9450753" cy="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ZoneTexte 70">
            <a:extLst>
              <a:ext uri="{FF2B5EF4-FFF2-40B4-BE49-F238E27FC236}">
                <a16:creationId xmlns:a16="http://schemas.microsoft.com/office/drawing/2014/main" id="{F81C78EA-D974-43BD-A060-CBCD7AF72C07}"/>
              </a:ext>
            </a:extLst>
          </p:cNvPr>
          <p:cNvSpPr txBox="1"/>
          <p:nvPr/>
        </p:nvSpPr>
        <p:spPr>
          <a:xfrm>
            <a:off x="5235748" y="5235663"/>
            <a:ext cx="50124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Résumer le texte en affichant les phrases les plus importante</a:t>
            </a:r>
          </a:p>
        </p:txBody>
      </p:sp>
      <p:pic>
        <p:nvPicPr>
          <p:cNvPr id="72" name="Graphique 71" descr="Document">
            <a:extLst>
              <a:ext uri="{FF2B5EF4-FFF2-40B4-BE49-F238E27FC236}">
                <a16:creationId xmlns:a16="http://schemas.microsoft.com/office/drawing/2014/main" id="{980A6755-68D2-434D-BA73-88237B2711C7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544822" y="5338692"/>
            <a:ext cx="509833" cy="509833"/>
          </a:xfrm>
          <a:prstGeom prst="rect">
            <a:avLst/>
          </a:prstGeom>
        </p:spPr>
      </p:pic>
      <p:sp>
        <p:nvSpPr>
          <p:cNvPr id="73" name="ZoneTexte 72">
            <a:extLst>
              <a:ext uri="{FF2B5EF4-FFF2-40B4-BE49-F238E27FC236}">
                <a16:creationId xmlns:a16="http://schemas.microsoft.com/office/drawing/2014/main" id="{A5A519FC-ED28-4EFA-8E8B-8EF27E8B0D2D}"/>
              </a:ext>
            </a:extLst>
          </p:cNvPr>
          <p:cNvSpPr txBox="1"/>
          <p:nvPr/>
        </p:nvSpPr>
        <p:spPr>
          <a:xfrm>
            <a:off x="3653605" y="5235663"/>
            <a:ext cx="126327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Résumer de texte</a:t>
            </a:r>
          </a:p>
        </p:txBody>
      </p:sp>
      <p:pic>
        <p:nvPicPr>
          <p:cNvPr id="76" name="Graphique 75" descr="Coche">
            <a:extLst>
              <a:ext uri="{FF2B5EF4-FFF2-40B4-BE49-F238E27FC236}">
                <a16:creationId xmlns:a16="http://schemas.microsoft.com/office/drawing/2014/main" id="{14F51F23-F977-4DBC-A671-492BCBD0AF09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0908779" y="5296625"/>
            <a:ext cx="604796" cy="604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7414684"/>
      </p:ext>
    </p:extLst>
  </p:cSld>
  <p:clrMapOvr>
    <a:masterClrMapping/>
  </p:clrMapOvr>
  <p:transition spd="slow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F3D120F2-7847-46E3-B223-0E289585DC2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17742AAE-5BCB-433E-96F0-68564AA6FCD0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F570B9A-2132-4B98-83A6-D75BEA1DE1CD}"/>
              </a:ext>
            </a:extLst>
          </p:cNvPr>
          <p:cNvSpPr/>
          <p:nvPr/>
        </p:nvSpPr>
        <p:spPr>
          <a:xfrm rot="505374">
            <a:off x="1290125" y="783655"/>
            <a:ext cx="45719" cy="6104049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ADFEE18B-16CB-4F9E-BD4A-6E9EB8C267C2}"/>
              </a:ext>
            </a:extLst>
          </p:cNvPr>
          <p:cNvSpPr/>
          <p:nvPr/>
        </p:nvSpPr>
        <p:spPr>
          <a:xfrm>
            <a:off x="843315" y="3064134"/>
            <a:ext cx="1000267" cy="1000267"/>
          </a:xfrm>
          <a:prstGeom prst="ellipse">
            <a:avLst/>
          </a:prstGeom>
          <a:solidFill>
            <a:schemeClr val="tx2">
              <a:lumMod val="5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4400" dirty="0"/>
              <a:t>2</a:t>
            </a:r>
            <a:endParaRPr lang="fr-FR" dirty="0"/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39D5F08C-3F3A-4C11-9269-9A3465FA0747}"/>
              </a:ext>
            </a:extLst>
          </p:cNvPr>
          <p:cNvSpPr/>
          <p:nvPr/>
        </p:nvSpPr>
        <p:spPr>
          <a:xfrm>
            <a:off x="801215" y="4853946"/>
            <a:ext cx="596348" cy="596348"/>
          </a:xfrm>
          <a:prstGeom prst="ellipse">
            <a:avLst/>
          </a:prstGeom>
          <a:solidFill>
            <a:schemeClr val="tx2">
              <a:lumMod val="5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Ellipse 12">
            <a:extLst>
              <a:ext uri="{FF2B5EF4-FFF2-40B4-BE49-F238E27FC236}">
                <a16:creationId xmlns:a16="http://schemas.microsoft.com/office/drawing/2014/main" id="{86D5B5F8-020D-4622-B97A-0A1905D431A4}"/>
              </a:ext>
            </a:extLst>
          </p:cNvPr>
          <p:cNvSpPr/>
          <p:nvPr/>
        </p:nvSpPr>
        <p:spPr>
          <a:xfrm>
            <a:off x="753597" y="2971373"/>
            <a:ext cx="1182752" cy="1182752"/>
          </a:xfrm>
          <a:prstGeom prst="ellips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7D6485DA-8B9C-4E00-B5C8-62A8D11E6307}"/>
              </a:ext>
            </a:extLst>
          </p:cNvPr>
          <p:cNvSpPr txBox="1"/>
          <p:nvPr/>
        </p:nvSpPr>
        <p:spPr>
          <a:xfrm>
            <a:off x="2249824" y="1675569"/>
            <a:ext cx="99421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800" dirty="0">
                <a:solidFill>
                  <a:schemeClr val="bg1"/>
                </a:solidFill>
                <a:latin typeface="Reem Kufi Regular"/>
              </a:rPr>
              <a:t>Présentation du projet</a:t>
            </a:r>
            <a:endParaRPr lang="fr-FR" sz="2800" dirty="0">
              <a:solidFill>
                <a:schemeClr val="bg1"/>
              </a:solidFill>
            </a:endParaRP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B000137F-7641-44FD-B7E7-A418133DE2AA}"/>
              </a:ext>
            </a:extLst>
          </p:cNvPr>
          <p:cNvSpPr txBox="1"/>
          <p:nvPr/>
        </p:nvSpPr>
        <p:spPr>
          <a:xfrm>
            <a:off x="2026067" y="3358387"/>
            <a:ext cx="4494628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000" dirty="0">
                <a:solidFill>
                  <a:schemeClr val="bg1"/>
                </a:solidFill>
                <a:latin typeface="Reem Kufi Regular"/>
              </a:rPr>
              <a:t>Démarche employé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27D19A-C2E1-4390-B8F2-E28EE5020D7E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E3E01B1F-4900-4D35-8B1E-D4268588A928}"/>
              </a:ext>
            </a:extLst>
          </p:cNvPr>
          <p:cNvSpPr txBox="1"/>
          <p:nvPr/>
        </p:nvSpPr>
        <p:spPr>
          <a:xfrm>
            <a:off x="1782654" y="4890510"/>
            <a:ext cx="90441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800" dirty="0">
                <a:solidFill>
                  <a:schemeClr val="bg1"/>
                </a:solidFill>
                <a:latin typeface="Reem Kufi Regular"/>
              </a:rPr>
              <a:t>Bilan</a:t>
            </a:r>
          </a:p>
        </p:txBody>
      </p:sp>
      <p:sp>
        <p:nvSpPr>
          <p:cNvPr id="19" name="Ellipse 18">
            <a:extLst>
              <a:ext uri="{FF2B5EF4-FFF2-40B4-BE49-F238E27FC236}">
                <a16:creationId xmlns:a16="http://schemas.microsoft.com/office/drawing/2014/main" id="{DB9555EF-96A8-43FB-823A-72FFC289188C}"/>
              </a:ext>
            </a:extLst>
          </p:cNvPr>
          <p:cNvSpPr/>
          <p:nvPr/>
        </p:nvSpPr>
        <p:spPr>
          <a:xfrm>
            <a:off x="1308013" y="1602441"/>
            <a:ext cx="596348" cy="596348"/>
          </a:xfrm>
          <a:prstGeom prst="ellipse">
            <a:avLst/>
          </a:prstGeom>
          <a:solidFill>
            <a:schemeClr val="tx2">
              <a:lumMod val="5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7706575-FAD3-4F24-A167-69085FDD6905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SOMMAIRE</a:t>
            </a:r>
          </a:p>
        </p:txBody>
      </p:sp>
    </p:spTree>
    <p:extLst>
      <p:ext uri="{BB962C8B-B14F-4D97-AF65-F5344CB8AC3E}">
        <p14:creationId xmlns:p14="http://schemas.microsoft.com/office/powerpoint/2010/main" val="1552763767"/>
      </p:ext>
    </p:extLst>
  </p:cSld>
  <p:clrMapOvr>
    <a:masterClrMapping/>
  </p:clrMapOvr>
  <p:transition spd="slow"/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C401337-C7CB-41A6-8CE0-3585D7CA23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3CF5856C-2DCC-4224-858C-F72B9191D8C8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F265E1-D21D-4CB3-BB3B-268924D2495C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3F4D2D-2973-4ACC-B192-B9B9C062B26E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Bilan</a:t>
            </a:r>
            <a:endParaRPr lang="fr-FR" sz="4400" b="1" dirty="0">
              <a:solidFill>
                <a:schemeClr val="bg1"/>
              </a:solidFill>
            </a:endParaRP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99184F4E-E786-41F7-8FF2-DF0C64D502E1}"/>
              </a:ext>
            </a:extLst>
          </p:cNvPr>
          <p:cNvGrpSpPr/>
          <p:nvPr/>
        </p:nvGrpSpPr>
        <p:grpSpPr>
          <a:xfrm>
            <a:off x="81856" y="6071877"/>
            <a:ext cx="731876" cy="696657"/>
            <a:chOff x="81856" y="6268713"/>
            <a:chExt cx="536895" cy="499821"/>
          </a:xfrm>
        </p:grpSpPr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id="{300700A6-66DC-4417-9777-770A67377095}"/>
                </a:ext>
              </a:extLst>
            </p:cNvPr>
            <p:cNvSpPr/>
            <p:nvPr/>
          </p:nvSpPr>
          <p:spPr>
            <a:xfrm>
              <a:off x="152777" y="6331654"/>
              <a:ext cx="395052" cy="371527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/>
                <a:t>21</a:t>
              </a:r>
              <a:endParaRPr lang="fr-FR" sz="700" dirty="0"/>
            </a:p>
          </p:txBody>
        </p:sp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BD9E1393-A259-4000-9F24-9578D1A470BF}"/>
                </a:ext>
              </a:extLst>
            </p:cNvPr>
            <p:cNvSpPr/>
            <p:nvPr/>
          </p:nvSpPr>
          <p:spPr>
            <a:xfrm>
              <a:off x="81856" y="6268713"/>
              <a:ext cx="536895" cy="499821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87" name="Picture 8" descr="Image associÃ©e">
            <a:extLst>
              <a:ext uri="{FF2B5EF4-FFF2-40B4-BE49-F238E27FC236}">
                <a16:creationId xmlns:a16="http://schemas.microsoft.com/office/drawing/2014/main" id="{0090572A-2667-48E1-A1CE-342BF56B96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1672" y="6161343"/>
            <a:ext cx="1810327" cy="69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ZoneTexte 46">
            <a:extLst>
              <a:ext uri="{FF2B5EF4-FFF2-40B4-BE49-F238E27FC236}">
                <a16:creationId xmlns:a16="http://schemas.microsoft.com/office/drawing/2014/main" id="{35EC63A0-A045-400D-9A7E-1AF94C5EDCE3}"/>
              </a:ext>
            </a:extLst>
          </p:cNvPr>
          <p:cNvSpPr txBox="1"/>
          <p:nvPr/>
        </p:nvSpPr>
        <p:spPr>
          <a:xfrm>
            <a:off x="221672" y="1300870"/>
            <a:ext cx="2102489" cy="1335276"/>
          </a:xfrm>
          <a:prstGeom prst="rect">
            <a:avLst/>
          </a:prstGeom>
          <a:noFill/>
        </p:spPr>
        <p:txBody>
          <a:bodyPr wrap="square" lIns="103163" tIns="51581" rIns="103163" bIns="51581" rtlCol="0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1/ </a:t>
            </a:r>
            <a:r>
              <a:rPr lang="fr-FR" sz="1000" b="1" u="sng" dirty="0">
                <a:solidFill>
                  <a:schemeClr val="bg1"/>
                </a:solidFill>
                <a:latin typeface="Reem Kufi Regular"/>
              </a:rPr>
              <a:t>Présentation du projet</a:t>
            </a:r>
          </a:p>
          <a:p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Context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Problémat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Objectifs</a:t>
            </a:r>
          </a:p>
          <a:p>
            <a:pPr marL="226958" lvl="1"/>
            <a:r>
              <a:rPr lang="fr-FR" sz="1000" dirty="0">
                <a:solidFill>
                  <a:schemeClr val="bg1"/>
                </a:solidFill>
              </a:rPr>
              <a:t>  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FC979EDB-05FB-4D1F-ADF4-867969F21A2E}"/>
              </a:ext>
            </a:extLst>
          </p:cNvPr>
          <p:cNvSpPr/>
          <p:nvPr/>
        </p:nvSpPr>
        <p:spPr>
          <a:xfrm>
            <a:off x="215033" y="2693441"/>
            <a:ext cx="2173758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2/Démarche employée</a:t>
            </a:r>
          </a:p>
          <a:p>
            <a:endParaRPr lang="fr-FR" sz="1000" b="1" u="sng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Grande ligne du projet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Moteur de recherche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Les applications utilisant le machine Learning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50E00549-4D24-40B6-AE29-0024A82AE604}"/>
              </a:ext>
            </a:extLst>
          </p:cNvPr>
          <p:cNvSpPr/>
          <p:nvPr/>
        </p:nvSpPr>
        <p:spPr>
          <a:xfrm>
            <a:off x="221673" y="4047368"/>
            <a:ext cx="2167118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rgbClr val="FF0000"/>
                </a:solidFill>
              </a:rPr>
              <a:t>3/ Bilan</a:t>
            </a:r>
            <a:br>
              <a:rPr lang="fr-FR" sz="1000" dirty="0">
                <a:solidFill>
                  <a:srgbClr val="FF0000"/>
                </a:solidFill>
              </a:rPr>
            </a:br>
            <a:endParaRPr lang="fr-FR" sz="1000" dirty="0">
              <a:solidFill>
                <a:srgbClr val="FF0000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rgbClr val="FF0000"/>
                </a:solidFill>
              </a:rPr>
              <a:t>Bilan Techn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Personnel</a:t>
            </a:r>
          </a:p>
        </p:txBody>
      </p:sp>
      <p:sp>
        <p:nvSpPr>
          <p:cNvPr id="64" name="ZoneTexte 63">
            <a:extLst>
              <a:ext uri="{FF2B5EF4-FFF2-40B4-BE49-F238E27FC236}">
                <a16:creationId xmlns:a16="http://schemas.microsoft.com/office/drawing/2014/main" id="{531EE42A-DE9C-4388-AE17-44BE0B0118CE}"/>
              </a:ext>
            </a:extLst>
          </p:cNvPr>
          <p:cNvSpPr txBox="1"/>
          <p:nvPr/>
        </p:nvSpPr>
        <p:spPr>
          <a:xfrm>
            <a:off x="2545833" y="1200725"/>
            <a:ext cx="503657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3200" b="1" dirty="0">
                <a:solidFill>
                  <a:schemeClr val="bg1"/>
                </a:solidFill>
              </a:rPr>
              <a:t>Faiblesses, point à améliorer</a:t>
            </a:r>
          </a:p>
        </p:txBody>
      </p:sp>
      <p:sp>
        <p:nvSpPr>
          <p:cNvPr id="69" name="ZoneTexte 68">
            <a:extLst>
              <a:ext uri="{FF2B5EF4-FFF2-40B4-BE49-F238E27FC236}">
                <a16:creationId xmlns:a16="http://schemas.microsoft.com/office/drawing/2014/main" id="{C1937936-00EA-4A06-A3F5-419E16BD4765}"/>
              </a:ext>
            </a:extLst>
          </p:cNvPr>
          <p:cNvSpPr txBox="1"/>
          <p:nvPr/>
        </p:nvSpPr>
        <p:spPr>
          <a:xfrm>
            <a:off x="2995945" y="2077888"/>
            <a:ext cx="5017682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Tx/>
              <a:buChar char="-"/>
            </a:pPr>
            <a:r>
              <a:rPr lang="fr-FR" sz="2800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Les erreurs d’orthographes</a:t>
            </a:r>
          </a:p>
          <a:p>
            <a:endParaRPr lang="fr-FR" sz="2800" dirty="0">
              <a:solidFill>
                <a:schemeClr val="bg1"/>
              </a:solidFill>
              <a:latin typeface="Reem Kufi Regular" pitchFamily="2"/>
              <a:cs typeface="Alef" panose="00000500000000000000" pitchFamily="2" charset="-79"/>
            </a:endParaRPr>
          </a:p>
          <a:p>
            <a:pPr marL="457200" indent="-457200">
              <a:buFontTx/>
              <a:buChar char="-"/>
            </a:pPr>
            <a:r>
              <a:rPr lang="fr-FR" sz="2800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Les synonymes</a:t>
            </a:r>
          </a:p>
          <a:p>
            <a:pPr marL="457200" indent="-457200">
              <a:buFontTx/>
              <a:buChar char="-"/>
            </a:pPr>
            <a:endParaRPr lang="fr-FR" sz="2800" dirty="0">
              <a:solidFill>
                <a:schemeClr val="bg1"/>
              </a:solidFill>
              <a:latin typeface="Reem Kufi Regular" pitchFamily="2"/>
              <a:cs typeface="Alef" panose="00000500000000000000" pitchFamily="2" charset="-79"/>
            </a:endParaRPr>
          </a:p>
          <a:p>
            <a:pPr marL="457200" indent="-457200">
              <a:buFontTx/>
              <a:buChar char="-"/>
            </a:pPr>
            <a:r>
              <a:rPr lang="fr-FR" sz="2800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L’ironie, les figures de style</a:t>
            </a:r>
          </a:p>
          <a:p>
            <a:pPr marL="457200" indent="-457200">
              <a:buFontTx/>
              <a:buChar char="-"/>
            </a:pPr>
            <a:endParaRPr lang="fr-FR" sz="2800" dirty="0">
              <a:solidFill>
                <a:schemeClr val="bg1"/>
              </a:solidFill>
              <a:latin typeface="Reem Kufi Regular" pitchFamily="2"/>
              <a:cs typeface="Alef" panose="00000500000000000000" pitchFamily="2" charset="-79"/>
            </a:endParaRPr>
          </a:p>
          <a:p>
            <a:pPr marL="457200" indent="-457200">
              <a:buFontTx/>
              <a:buChar char="-"/>
            </a:pPr>
            <a:r>
              <a:rPr lang="fr-FR" sz="2800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Peu de dataset disponibles</a:t>
            </a:r>
          </a:p>
          <a:p>
            <a:pPr marL="457200" indent="-457200">
              <a:buFontTx/>
              <a:buChar char="-"/>
            </a:pPr>
            <a:endParaRPr lang="fr-FR" sz="2800" b="1" dirty="0">
              <a:solidFill>
                <a:schemeClr val="bg1"/>
              </a:solidFill>
              <a:latin typeface="Reem Kufi Regular" pitchFamily="2"/>
              <a:cs typeface="Alef" panose="00000500000000000000" pitchFamily="2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3978676710"/>
      </p:ext>
    </p:extLst>
  </p:cSld>
  <p:clrMapOvr>
    <a:masterClrMapping/>
  </p:clrMapOvr>
  <p:transition spd="slow"/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C401337-C7CB-41A6-8CE0-3585D7CA23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3CF5856C-2DCC-4224-858C-F72B9191D8C8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F265E1-D21D-4CB3-BB3B-268924D2495C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3F4D2D-2973-4ACC-B192-B9B9C062B26E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Bilan</a:t>
            </a:r>
            <a:endParaRPr lang="fr-FR" sz="4400" b="1" dirty="0">
              <a:solidFill>
                <a:schemeClr val="bg1"/>
              </a:solidFill>
            </a:endParaRP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99184F4E-E786-41F7-8FF2-DF0C64D502E1}"/>
              </a:ext>
            </a:extLst>
          </p:cNvPr>
          <p:cNvGrpSpPr/>
          <p:nvPr/>
        </p:nvGrpSpPr>
        <p:grpSpPr>
          <a:xfrm>
            <a:off x="81856" y="6071877"/>
            <a:ext cx="731876" cy="696657"/>
            <a:chOff x="81856" y="6268713"/>
            <a:chExt cx="536895" cy="499821"/>
          </a:xfrm>
        </p:grpSpPr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id="{300700A6-66DC-4417-9777-770A67377095}"/>
                </a:ext>
              </a:extLst>
            </p:cNvPr>
            <p:cNvSpPr/>
            <p:nvPr/>
          </p:nvSpPr>
          <p:spPr>
            <a:xfrm>
              <a:off x="152777" y="6331654"/>
              <a:ext cx="395052" cy="371527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/>
                <a:t>22</a:t>
              </a:r>
              <a:endParaRPr lang="fr-FR" sz="700" dirty="0"/>
            </a:p>
          </p:txBody>
        </p:sp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BD9E1393-A259-4000-9F24-9578D1A470BF}"/>
                </a:ext>
              </a:extLst>
            </p:cNvPr>
            <p:cNvSpPr/>
            <p:nvPr/>
          </p:nvSpPr>
          <p:spPr>
            <a:xfrm>
              <a:off x="81856" y="6268713"/>
              <a:ext cx="536895" cy="499821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87" name="Picture 8" descr="Image associÃ©e">
            <a:extLst>
              <a:ext uri="{FF2B5EF4-FFF2-40B4-BE49-F238E27FC236}">
                <a16:creationId xmlns:a16="http://schemas.microsoft.com/office/drawing/2014/main" id="{0090572A-2667-48E1-A1CE-342BF56B96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1672" y="6161343"/>
            <a:ext cx="1810327" cy="69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ZoneTexte 46">
            <a:extLst>
              <a:ext uri="{FF2B5EF4-FFF2-40B4-BE49-F238E27FC236}">
                <a16:creationId xmlns:a16="http://schemas.microsoft.com/office/drawing/2014/main" id="{35EC63A0-A045-400D-9A7E-1AF94C5EDCE3}"/>
              </a:ext>
            </a:extLst>
          </p:cNvPr>
          <p:cNvSpPr txBox="1"/>
          <p:nvPr/>
        </p:nvSpPr>
        <p:spPr>
          <a:xfrm>
            <a:off x="221672" y="1300870"/>
            <a:ext cx="2102489" cy="1335276"/>
          </a:xfrm>
          <a:prstGeom prst="rect">
            <a:avLst/>
          </a:prstGeom>
          <a:noFill/>
        </p:spPr>
        <p:txBody>
          <a:bodyPr wrap="square" lIns="103163" tIns="51581" rIns="103163" bIns="51581" rtlCol="0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1/ </a:t>
            </a:r>
            <a:r>
              <a:rPr lang="fr-FR" sz="1000" b="1" u="sng" dirty="0">
                <a:solidFill>
                  <a:schemeClr val="bg1"/>
                </a:solidFill>
                <a:latin typeface="Reem Kufi Regular"/>
              </a:rPr>
              <a:t>Présentation du projet</a:t>
            </a:r>
          </a:p>
          <a:p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Context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Problémat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Objectifs</a:t>
            </a:r>
          </a:p>
          <a:p>
            <a:pPr marL="226958" lvl="1"/>
            <a:r>
              <a:rPr lang="fr-FR" sz="1000" dirty="0">
                <a:solidFill>
                  <a:schemeClr val="bg1"/>
                </a:solidFill>
              </a:rPr>
              <a:t>  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FC979EDB-05FB-4D1F-ADF4-867969F21A2E}"/>
              </a:ext>
            </a:extLst>
          </p:cNvPr>
          <p:cNvSpPr/>
          <p:nvPr/>
        </p:nvSpPr>
        <p:spPr>
          <a:xfrm>
            <a:off x="215033" y="2693441"/>
            <a:ext cx="2173758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2/Démarche employée</a:t>
            </a:r>
          </a:p>
          <a:p>
            <a:endParaRPr lang="fr-FR" sz="1000" b="1" u="sng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Grande ligne du projet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Moteur de recherche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Les applications utilisant le machine Learning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50E00549-4D24-40B6-AE29-0024A82AE604}"/>
              </a:ext>
            </a:extLst>
          </p:cNvPr>
          <p:cNvSpPr/>
          <p:nvPr/>
        </p:nvSpPr>
        <p:spPr>
          <a:xfrm>
            <a:off x="221673" y="4047368"/>
            <a:ext cx="2167118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rgbClr val="FF0000"/>
                </a:solidFill>
              </a:rPr>
              <a:t>3/ Bilan</a:t>
            </a:r>
            <a:br>
              <a:rPr lang="fr-FR" sz="1000" dirty="0">
                <a:solidFill>
                  <a:srgbClr val="FF0000"/>
                </a:solidFill>
              </a:rPr>
            </a:br>
            <a:endParaRPr lang="fr-FR" sz="1000" dirty="0">
              <a:solidFill>
                <a:srgbClr val="FF0000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Techn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rgbClr val="FF0000"/>
                </a:solidFill>
              </a:rPr>
              <a:t>Bilan Personnel</a:t>
            </a:r>
          </a:p>
        </p:txBody>
      </p:sp>
      <p:sp>
        <p:nvSpPr>
          <p:cNvPr id="71" name="ZoneTexte 70">
            <a:extLst>
              <a:ext uri="{FF2B5EF4-FFF2-40B4-BE49-F238E27FC236}">
                <a16:creationId xmlns:a16="http://schemas.microsoft.com/office/drawing/2014/main" id="{D0582006-138F-42A4-BE83-56C7EBBF8444}"/>
              </a:ext>
            </a:extLst>
          </p:cNvPr>
          <p:cNvSpPr txBox="1"/>
          <p:nvPr/>
        </p:nvSpPr>
        <p:spPr>
          <a:xfrm>
            <a:off x="3505521" y="1275767"/>
            <a:ext cx="28645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400" b="1" u="sng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Points forts</a:t>
            </a:r>
          </a:p>
        </p:txBody>
      </p:sp>
      <p:sp>
        <p:nvSpPr>
          <p:cNvPr id="72" name="ZoneTexte 71">
            <a:extLst>
              <a:ext uri="{FF2B5EF4-FFF2-40B4-BE49-F238E27FC236}">
                <a16:creationId xmlns:a16="http://schemas.microsoft.com/office/drawing/2014/main" id="{F71849B8-CDC6-4C6C-AE1D-FA8223B75FC7}"/>
              </a:ext>
            </a:extLst>
          </p:cNvPr>
          <p:cNvSpPr txBox="1"/>
          <p:nvPr/>
        </p:nvSpPr>
        <p:spPr>
          <a:xfrm>
            <a:off x="2657791" y="1968508"/>
            <a:ext cx="3995090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Choix des technologies adaptées à la réalisation du projet</a:t>
            </a:r>
            <a:b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</a:br>
            <a:endParaRPr lang="fr-FR" b="1" dirty="0">
              <a:solidFill>
                <a:schemeClr val="bg1"/>
              </a:solidFill>
              <a:latin typeface="Reem Kufi Regular" pitchFamily="2"/>
              <a:cs typeface="Alef" panose="00000500000000000000" pitchFamily="2" charset="-79"/>
            </a:endParaRPr>
          </a:p>
          <a:p>
            <a:pPr marL="285750" indent="-285750">
              <a:buFontTx/>
              <a:buChar char="-"/>
            </a:pPr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Bonne autonomie dans le projet</a:t>
            </a:r>
          </a:p>
          <a:p>
            <a:pPr marL="285750" indent="-285750">
              <a:buFontTx/>
              <a:buChar char="-"/>
            </a:pPr>
            <a:endParaRPr lang="fr-FR" b="1" dirty="0">
              <a:solidFill>
                <a:schemeClr val="bg1"/>
              </a:solidFill>
              <a:latin typeface="Reem Kufi Regular" pitchFamily="2"/>
              <a:cs typeface="Alef" panose="00000500000000000000" pitchFamily="2" charset="-79"/>
            </a:endParaRPr>
          </a:p>
          <a:p>
            <a:pPr marL="285750" indent="-285750">
              <a:buFontTx/>
              <a:buChar char="-"/>
            </a:pPr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Implication dans le projet </a:t>
            </a:r>
          </a:p>
          <a:p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     (710 heures au total)</a:t>
            </a:r>
          </a:p>
          <a:p>
            <a:pPr marL="285750" indent="-285750">
              <a:buFontTx/>
              <a:buChar char="-"/>
            </a:pPr>
            <a:endParaRPr lang="fr-FR" b="1" dirty="0">
              <a:solidFill>
                <a:schemeClr val="bg1"/>
              </a:solidFill>
              <a:latin typeface="Reem Kufi Regular" pitchFamily="2"/>
              <a:cs typeface="Alef" panose="00000500000000000000" pitchFamily="2" charset="-79"/>
            </a:endParaRPr>
          </a:p>
          <a:p>
            <a:pPr marL="285750" indent="-285750">
              <a:buFontTx/>
              <a:buChar char="-"/>
            </a:pPr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Autoformations fréquentes (</a:t>
            </a:r>
            <a:r>
              <a:rPr lang="fr-FR" b="1" dirty="0" err="1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Udemy</a:t>
            </a:r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, </a:t>
            </a:r>
            <a:r>
              <a:rPr lang="fr-FR" b="1" dirty="0" err="1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Openclassroom</a:t>
            </a:r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, livre etc…)</a:t>
            </a:r>
          </a:p>
          <a:p>
            <a:pPr marL="285750" indent="-285750">
              <a:buFontTx/>
              <a:buChar char="-"/>
            </a:pPr>
            <a:endParaRPr lang="fr-FR" b="1" dirty="0">
              <a:solidFill>
                <a:schemeClr val="bg1"/>
              </a:solidFill>
              <a:latin typeface="Reem Kufi Regular" pitchFamily="2"/>
              <a:cs typeface="Alef" panose="00000500000000000000" pitchFamily="2" charset="-79"/>
            </a:endParaRPr>
          </a:p>
          <a:p>
            <a:pPr marL="285750" indent="-285750">
              <a:buFontTx/>
              <a:buChar char="-"/>
            </a:pPr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Application disponible sur le </a:t>
            </a:r>
            <a:r>
              <a:rPr lang="fr-FR" b="1" dirty="0" err="1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Github</a:t>
            </a:r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 avec tutoriel d’installation</a:t>
            </a:r>
          </a:p>
          <a:p>
            <a:endParaRPr lang="fr-FR" b="1" dirty="0">
              <a:solidFill>
                <a:schemeClr val="bg1"/>
              </a:solidFill>
              <a:latin typeface="Reem Kufi Regular" pitchFamily="2"/>
              <a:cs typeface="Alef" panose="00000500000000000000" pitchFamily="2" charset="-79"/>
            </a:endParaRPr>
          </a:p>
        </p:txBody>
      </p:sp>
      <p:sp>
        <p:nvSpPr>
          <p:cNvPr id="73" name="ZoneTexte 72">
            <a:extLst>
              <a:ext uri="{FF2B5EF4-FFF2-40B4-BE49-F238E27FC236}">
                <a16:creationId xmlns:a16="http://schemas.microsoft.com/office/drawing/2014/main" id="{3C0FDB78-C3F7-4C98-9ED8-00E616810A68}"/>
              </a:ext>
            </a:extLst>
          </p:cNvPr>
          <p:cNvSpPr txBox="1"/>
          <p:nvPr/>
        </p:nvSpPr>
        <p:spPr>
          <a:xfrm>
            <a:off x="8107423" y="1258989"/>
            <a:ext cx="28645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400" b="1" u="sng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Points faibles</a:t>
            </a:r>
          </a:p>
        </p:txBody>
      </p:sp>
      <p:sp>
        <p:nvSpPr>
          <p:cNvPr id="74" name="ZoneTexte 73">
            <a:extLst>
              <a:ext uri="{FF2B5EF4-FFF2-40B4-BE49-F238E27FC236}">
                <a16:creationId xmlns:a16="http://schemas.microsoft.com/office/drawing/2014/main" id="{0D0BA60A-FC20-4EBF-9C12-6409BD040CF3}"/>
              </a:ext>
            </a:extLst>
          </p:cNvPr>
          <p:cNvSpPr txBox="1"/>
          <p:nvPr/>
        </p:nvSpPr>
        <p:spPr>
          <a:xfrm>
            <a:off x="7542135" y="1999571"/>
            <a:ext cx="3995090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Rupture de cohésion du groupe</a:t>
            </a:r>
          </a:p>
          <a:p>
            <a:pPr marL="285750" indent="-285750">
              <a:buFontTx/>
              <a:buChar char="-"/>
            </a:pPr>
            <a:endParaRPr lang="fr-FR" b="1" dirty="0">
              <a:solidFill>
                <a:schemeClr val="bg1"/>
              </a:solidFill>
              <a:latin typeface="Reem Kufi Regular" pitchFamily="2"/>
              <a:cs typeface="Alef" panose="00000500000000000000" pitchFamily="2" charset="-79"/>
            </a:endParaRPr>
          </a:p>
          <a:p>
            <a:pPr marL="285750" indent="-285750">
              <a:buFontTx/>
              <a:buChar char="-"/>
            </a:pPr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Manque de connaissance concernant le fonctionnement des classifieurs</a:t>
            </a:r>
          </a:p>
          <a:p>
            <a:pPr marL="285750" indent="-285750">
              <a:buFontTx/>
              <a:buChar char="-"/>
            </a:pPr>
            <a:endParaRPr lang="fr-FR" b="1" dirty="0">
              <a:solidFill>
                <a:schemeClr val="bg1"/>
              </a:solidFill>
              <a:latin typeface="Reem Kufi Regular" pitchFamily="2"/>
              <a:cs typeface="Alef" panose="00000500000000000000" pitchFamily="2" charset="-79"/>
            </a:endParaRPr>
          </a:p>
          <a:p>
            <a:pPr marL="285750" indent="-285750">
              <a:buFontTx/>
              <a:buChar char="-"/>
            </a:pPr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Pas le temps de réaliser tout les tests dans les règles de l’art</a:t>
            </a:r>
          </a:p>
          <a:p>
            <a:pPr marL="285750" indent="-285750">
              <a:buFontTx/>
              <a:buChar char="-"/>
            </a:pPr>
            <a:endParaRPr lang="fr-FR" b="1" dirty="0">
              <a:solidFill>
                <a:schemeClr val="bg1"/>
              </a:solidFill>
              <a:latin typeface="Reem Kufi Regular" pitchFamily="2"/>
              <a:cs typeface="Alef" panose="00000500000000000000" pitchFamily="2" charset="-79"/>
            </a:endParaRPr>
          </a:p>
          <a:p>
            <a:pPr marL="285750" indent="-285750">
              <a:buFontTx/>
              <a:buChar char="-"/>
            </a:pPr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Pas le temps de développer une interface graphique (facultatif dans le CDC)</a:t>
            </a:r>
          </a:p>
          <a:p>
            <a:endParaRPr lang="fr-FR" b="1" dirty="0">
              <a:solidFill>
                <a:schemeClr val="bg1"/>
              </a:solidFill>
              <a:latin typeface="Reem Kufi Regular" pitchFamily="2"/>
              <a:cs typeface="Alef" panose="00000500000000000000" pitchFamily="2" charset="-79"/>
            </a:endParaRPr>
          </a:p>
        </p:txBody>
      </p:sp>
      <p:cxnSp>
        <p:nvCxnSpPr>
          <p:cNvPr id="75" name="Connecteur droit 74">
            <a:extLst>
              <a:ext uri="{FF2B5EF4-FFF2-40B4-BE49-F238E27FC236}">
                <a16:creationId xmlns:a16="http://schemas.microsoft.com/office/drawing/2014/main" id="{D071A642-67AC-4BF0-B003-A10062583EB4}"/>
              </a:ext>
            </a:extLst>
          </p:cNvPr>
          <p:cNvCxnSpPr/>
          <p:nvPr/>
        </p:nvCxnSpPr>
        <p:spPr>
          <a:xfrm>
            <a:off x="6887362" y="1212956"/>
            <a:ext cx="0" cy="539412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06530753"/>
      </p:ext>
    </p:extLst>
  </p:cSld>
  <p:clrMapOvr>
    <a:masterClrMapping/>
  </p:clrMapOvr>
  <p:transition spd="slow"/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C401337-C7CB-41A6-8CE0-3585D7CA23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3CF5856C-2DCC-4224-858C-F72B9191D8C8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F265E1-D21D-4CB3-BB3B-268924D2495C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3F4D2D-2973-4ACC-B192-B9B9C062B26E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Remerciement</a:t>
            </a:r>
            <a:endParaRPr lang="fr-FR" sz="4400" b="1" dirty="0">
              <a:solidFill>
                <a:schemeClr val="bg1"/>
              </a:solidFill>
            </a:endParaRP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99184F4E-E786-41F7-8FF2-DF0C64D502E1}"/>
              </a:ext>
            </a:extLst>
          </p:cNvPr>
          <p:cNvGrpSpPr/>
          <p:nvPr/>
        </p:nvGrpSpPr>
        <p:grpSpPr>
          <a:xfrm>
            <a:off x="81856" y="6071877"/>
            <a:ext cx="731876" cy="696657"/>
            <a:chOff x="81856" y="6268713"/>
            <a:chExt cx="536895" cy="499821"/>
          </a:xfrm>
        </p:grpSpPr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id="{300700A6-66DC-4417-9777-770A67377095}"/>
                </a:ext>
              </a:extLst>
            </p:cNvPr>
            <p:cNvSpPr/>
            <p:nvPr/>
          </p:nvSpPr>
          <p:spPr>
            <a:xfrm>
              <a:off x="152777" y="6331654"/>
              <a:ext cx="395052" cy="371527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/>
                <a:t>22</a:t>
              </a:r>
              <a:endParaRPr lang="fr-FR" sz="700" dirty="0"/>
            </a:p>
          </p:txBody>
        </p:sp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BD9E1393-A259-4000-9F24-9578D1A470BF}"/>
                </a:ext>
              </a:extLst>
            </p:cNvPr>
            <p:cNvSpPr/>
            <p:nvPr/>
          </p:nvSpPr>
          <p:spPr>
            <a:xfrm>
              <a:off x="81856" y="6268713"/>
              <a:ext cx="536895" cy="499821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87" name="Picture 8" descr="Image associÃ©e">
            <a:extLst>
              <a:ext uri="{FF2B5EF4-FFF2-40B4-BE49-F238E27FC236}">
                <a16:creationId xmlns:a16="http://schemas.microsoft.com/office/drawing/2014/main" id="{0090572A-2667-48E1-A1CE-342BF56B96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1672" y="6161343"/>
            <a:ext cx="1810327" cy="69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6F1302FD-F6BC-4AA1-9040-474BD56B3EA2}"/>
              </a:ext>
            </a:extLst>
          </p:cNvPr>
          <p:cNvSpPr/>
          <p:nvPr/>
        </p:nvSpPr>
        <p:spPr>
          <a:xfrm>
            <a:off x="3048000" y="1997839"/>
            <a:ext cx="6096000" cy="1384995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fr-FR" sz="2800" b="1" dirty="0">
                <a:solidFill>
                  <a:schemeClr val="bg1"/>
                </a:solidFill>
              </a:rPr>
              <a:t>Vincent Vidal</a:t>
            </a:r>
          </a:p>
          <a:p>
            <a:pPr algn="ctr"/>
            <a:endParaRPr lang="fr-FR" sz="2800" b="1" dirty="0">
              <a:solidFill>
                <a:schemeClr val="bg1"/>
              </a:solidFill>
            </a:endParaRPr>
          </a:p>
          <a:p>
            <a:pPr algn="ctr"/>
            <a:r>
              <a:rPr lang="fr-FR" sz="2800" b="1" dirty="0">
                <a:solidFill>
                  <a:schemeClr val="bg1"/>
                </a:solidFill>
              </a:rPr>
              <a:t>Pierre-Antoine Champin</a:t>
            </a:r>
            <a:endParaRPr lang="fr-FR" sz="2800" dirty="0">
              <a:solidFill>
                <a:schemeClr val="bg1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AC01B73-5403-4485-8D2D-9D833DEC9111}"/>
              </a:ext>
            </a:extLst>
          </p:cNvPr>
          <p:cNvSpPr/>
          <p:nvPr/>
        </p:nvSpPr>
        <p:spPr>
          <a:xfrm>
            <a:off x="4428701" y="5019641"/>
            <a:ext cx="48110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>
                <a:solidFill>
                  <a:schemeClr val="bg1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ithub.com/JeremyL71/GIT-TEXT-MINING</a:t>
            </a:r>
            <a:endParaRPr lang="fr-FR" dirty="0">
              <a:solidFill>
                <a:schemeClr val="bg1"/>
              </a:solidFill>
            </a:endParaRP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CADDC6EA-484A-40B3-A072-4086CC6E9270}"/>
              </a:ext>
            </a:extLst>
          </p:cNvPr>
          <p:cNvSpPr txBox="1"/>
          <p:nvPr/>
        </p:nvSpPr>
        <p:spPr>
          <a:xfrm>
            <a:off x="3169343" y="5010054"/>
            <a:ext cx="99097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dirty="0">
                <a:solidFill>
                  <a:schemeClr val="bg1"/>
                </a:solidFill>
              </a:rPr>
              <a:t>GitHub:</a:t>
            </a:r>
          </a:p>
        </p:txBody>
      </p:sp>
    </p:spTree>
    <p:extLst>
      <p:ext uri="{BB962C8B-B14F-4D97-AF65-F5344CB8AC3E}">
        <p14:creationId xmlns:p14="http://schemas.microsoft.com/office/powerpoint/2010/main" val="1399211825"/>
      </p:ext>
    </p:extLst>
  </p:cSld>
  <p:clrMapOvr>
    <a:masterClrMapping/>
  </p:clrMapOvr>
  <p:transition spd="slow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819A2C05-3F0F-4D18-821D-DC3430959E4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17742AAE-5BCB-433E-96F0-68564AA6FCD0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F570B9A-2132-4B98-83A6-D75BEA1DE1CD}"/>
              </a:ext>
            </a:extLst>
          </p:cNvPr>
          <p:cNvSpPr/>
          <p:nvPr/>
        </p:nvSpPr>
        <p:spPr>
          <a:xfrm rot="505374">
            <a:off x="1290125" y="783655"/>
            <a:ext cx="45719" cy="6104049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ADFEE18B-16CB-4F9E-BD4A-6E9EB8C267C2}"/>
              </a:ext>
            </a:extLst>
          </p:cNvPr>
          <p:cNvSpPr/>
          <p:nvPr/>
        </p:nvSpPr>
        <p:spPr>
          <a:xfrm>
            <a:off x="615083" y="4654704"/>
            <a:ext cx="1000267" cy="1000267"/>
          </a:xfrm>
          <a:prstGeom prst="ellipse">
            <a:avLst/>
          </a:prstGeom>
          <a:solidFill>
            <a:schemeClr val="tx2">
              <a:lumMod val="5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4400" dirty="0"/>
              <a:t>3</a:t>
            </a:r>
            <a:endParaRPr lang="fr-FR" dirty="0"/>
          </a:p>
        </p:txBody>
      </p:sp>
      <p:sp>
        <p:nvSpPr>
          <p:cNvPr id="11" name="Ellipse 10">
            <a:extLst>
              <a:ext uri="{FF2B5EF4-FFF2-40B4-BE49-F238E27FC236}">
                <a16:creationId xmlns:a16="http://schemas.microsoft.com/office/drawing/2014/main" id="{38762588-9E83-43C1-A3D7-58811BE840BB}"/>
              </a:ext>
            </a:extLst>
          </p:cNvPr>
          <p:cNvSpPr/>
          <p:nvPr/>
        </p:nvSpPr>
        <p:spPr>
          <a:xfrm>
            <a:off x="1046788" y="3281694"/>
            <a:ext cx="596348" cy="596348"/>
          </a:xfrm>
          <a:prstGeom prst="ellipse">
            <a:avLst/>
          </a:prstGeom>
          <a:solidFill>
            <a:schemeClr val="tx2">
              <a:lumMod val="5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Ellipse 12">
            <a:extLst>
              <a:ext uri="{FF2B5EF4-FFF2-40B4-BE49-F238E27FC236}">
                <a16:creationId xmlns:a16="http://schemas.microsoft.com/office/drawing/2014/main" id="{86D5B5F8-020D-4622-B97A-0A1905D431A4}"/>
              </a:ext>
            </a:extLst>
          </p:cNvPr>
          <p:cNvSpPr/>
          <p:nvPr/>
        </p:nvSpPr>
        <p:spPr>
          <a:xfrm>
            <a:off x="525365" y="4561943"/>
            <a:ext cx="1182752" cy="1182752"/>
          </a:xfrm>
          <a:prstGeom prst="ellips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7D6485DA-8B9C-4E00-B5C8-62A8D11E6307}"/>
              </a:ext>
            </a:extLst>
          </p:cNvPr>
          <p:cNvSpPr txBox="1"/>
          <p:nvPr/>
        </p:nvSpPr>
        <p:spPr>
          <a:xfrm>
            <a:off x="2249824" y="1675569"/>
            <a:ext cx="99421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800" dirty="0">
                <a:solidFill>
                  <a:schemeClr val="bg1"/>
                </a:solidFill>
                <a:latin typeface="Reem Kufi Regular"/>
              </a:rPr>
              <a:t>Présentation du projet</a:t>
            </a:r>
            <a:endParaRPr lang="fr-FR" sz="2800" dirty="0">
              <a:solidFill>
                <a:schemeClr val="bg1"/>
              </a:solidFill>
            </a:endParaRP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DCDE67E9-9F2B-41A8-A749-FE96BECF7CF1}"/>
              </a:ext>
            </a:extLst>
          </p:cNvPr>
          <p:cNvSpPr txBox="1"/>
          <p:nvPr/>
        </p:nvSpPr>
        <p:spPr>
          <a:xfrm>
            <a:off x="1782654" y="4890510"/>
            <a:ext cx="1212191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000" dirty="0">
                <a:solidFill>
                  <a:schemeClr val="bg1"/>
                </a:solidFill>
                <a:latin typeface="Reem Kufi Regular"/>
              </a:rPr>
              <a:t>Bilan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27D19A-C2E1-4390-B8F2-E28EE5020D7E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95BF97F4-BC20-4388-859B-D7982D4DCB07}"/>
              </a:ext>
            </a:extLst>
          </p:cNvPr>
          <p:cNvSpPr txBox="1"/>
          <p:nvPr/>
        </p:nvSpPr>
        <p:spPr>
          <a:xfrm>
            <a:off x="2026067" y="3358387"/>
            <a:ext cx="319959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800" dirty="0">
                <a:solidFill>
                  <a:schemeClr val="bg1"/>
                </a:solidFill>
                <a:latin typeface="Reem Kufi Regular"/>
              </a:rPr>
              <a:t>Démarche employée</a:t>
            </a:r>
          </a:p>
        </p:txBody>
      </p:sp>
      <p:sp>
        <p:nvSpPr>
          <p:cNvPr id="19" name="Ellipse 18">
            <a:extLst>
              <a:ext uri="{FF2B5EF4-FFF2-40B4-BE49-F238E27FC236}">
                <a16:creationId xmlns:a16="http://schemas.microsoft.com/office/drawing/2014/main" id="{9FFFDA8A-11D0-493B-AFA7-BBBBFA55697E}"/>
              </a:ext>
            </a:extLst>
          </p:cNvPr>
          <p:cNvSpPr/>
          <p:nvPr/>
        </p:nvSpPr>
        <p:spPr>
          <a:xfrm>
            <a:off x="1308013" y="1602441"/>
            <a:ext cx="596348" cy="596348"/>
          </a:xfrm>
          <a:prstGeom prst="ellipse">
            <a:avLst/>
          </a:prstGeom>
          <a:solidFill>
            <a:schemeClr val="tx2">
              <a:lumMod val="5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C07668D-9913-4510-8FC6-1ED413BC79D4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SOMMAIRE</a:t>
            </a:r>
          </a:p>
        </p:txBody>
      </p:sp>
    </p:spTree>
    <p:extLst>
      <p:ext uri="{BB962C8B-B14F-4D97-AF65-F5344CB8AC3E}">
        <p14:creationId xmlns:p14="http://schemas.microsoft.com/office/powerpoint/2010/main" val="2419417919"/>
      </p:ext>
    </p:extLst>
  </p:cSld>
  <p:clrMapOvr>
    <a:masterClrMapping/>
  </p:clrMapOvr>
  <p:transition spd="slow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9778D14-8845-4FB8-BB12-1F68B7686C2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17742AAE-5BCB-433E-96F0-68564AA6FCD0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F570B9A-2132-4B98-83A6-D75BEA1DE1CD}"/>
              </a:ext>
            </a:extLst>
          </p:cNvPr>
          <p:cNvSpPr/>
          <p:nvPr/>
        </p:nvSpPr>
        <p:spPr>
          <a:xfrm rot="505374">
            <a:off x="1290125" y="783655"/>
            <a:ext cx="45719" cy="6104049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ADFEE18B-16CB-4F9E-BD4A-6E9EB8C267C2}"/>
              </a:ext>
            </a:extLst>
          </p:cNvPr>
          <p:cNvSpPr/>
          <p:nvPr/>
        </p:nvSpPr>
        <p:spPr>
          <a:xfrm>
            <a:off x="933033" y="2928866"/>
            <a:ext cx="1000267" cy="1000267"/>
          </a:xfrm>
          <a:prstGeom prst="ellipse">
            <a:avLst/>
          </a:prstGeom>
          <a:solidFill>
            <a:schemeClr val="tx2">
              <a:lumMod val="5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4400" dirty="0"/>
              <a:t>1</a:t>
            </a:r>
            <a:endParaRPr lang="fr-FR" dirty="0"/>
          </a:p>
        </p:txBody>
      </p:sp>
      <p:sp>
        <p:nvSpPr>
          <p:cNvPr id="13" name="Ellipse 12">
            <a:extLst>
              <a:ext uri="{FF2B5EF4-FFF2-40B4-BE49-F238E27FC236}">
                <a16:creationId xmlns:a16="http://schemas.microsoft.com/office/drawing/2014/main" id="{86D5B5F8-020D-4622-B97A-0A1905D431A4}"/>
              </a:ext>
            </a:extLst>
          </p:cNvPr>
          <p:cNvSpPr/>
          <p:nvPr/>
        </p:nvSpPr>
        <p:spPr>
          <a:xfrm>
            <a:off x="843315" y="2836105"/>
            <a:ext cx="1182752" cy="1182752"/>
          </a:xfrm>
          <a:prstGeom prst="ellips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7D6485DA-8B9C-4E00-B5C8-62A8D11E6307}"/>
              </a:ext>
            </a:extLst>
          </p:cNvPr>
          <p:cNvSpPr txBox="1"/>
          <p:nvPr/>
        </p:nvSpPr>
        <p:spPr>
          <a:xfrm>
            <a:off x="2180839" y="2910861"/>
            <a:ext cx="7830320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600" dirty="0">
                <a:solidFill>
                  <a:schemeClr val="bg1"/>
                </a:solidFill>
                <a:latin typeface="Reem Kufi Regular"/>
              </a:rPr>
              <a:t>Présentation du projet</a:t>
            </a:r>
            <a:endParaRPr lang="fr-FR" sz="6600" dirty="0">
              <a:solidFill>
                <a:schemeClr val="bg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27D19A-C2E1-4390-B8F2-E28EE5020D7E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32819218"/>
      </p:ext>
    </p:extLst>
  </p:cSld>
  <p:clrMapOvr>
    <a:masterClrMapping/>
  </p:clrMapOvr>
  <p:transition spd="slow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C401337-C7CB-41A6-8CE0-3585D7CA23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-1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3CF5856C-2DCC-4224-858C-F72B9191D8C8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F265E1-D21D-4CB3-BB3B-268924D2495C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3F4D2D-2973-4ACC-B192-B9B9C062B26E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Présentation du projet</a:t>
            </a:r>
            <a:endParaRPr lang="fr-FR" sz="4400" b="1" dirty="0">
              <a:solidFill>
                <a:schemeClr val="bg1"/>
              </a:solidFill>
            </a:endParaRPr>
          </a:p>
        </p:txBody>
      </p:sp>
      <p:pic>
        <p:nvPicPr>
          <p:cNvPr id="15" name="Picture 8" descr="Image associÃ©e">
            <a:extLst>
              <a:ext uri="{FF2B5EF4-FFF2-40B4-BE49-F238E27FC236}">
                <a16:creationId xmlns:a16="http://schemas.microsoft.com/office/drawing/2014/main" id="{D73B5BD8-0FA5-4DEF-9F26-E4C63F6FB2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1672" y="6161343"/>
            <a:ext cx="1810327" cy="69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RÃ©sultat de recherche d'images pour &quot;big data&quot;">
            <a:extLst>
              <a:ext uri="{FF2B5EF4-FFF2-40B4-BE49-F238E27FC236}">
                <a16:creationId xmlns:a16="http://schemas.microsoft.com/office/drawing/2014/main" id="{412D8DEC-D2AB-4955-9D0B-68EC1B462B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2792" y="2103527"/>
            <a:ext cx="7934036" cy="38523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ZoneTexte 16">
            <a:extLst>
              <a:ext uri="{FF2B5EF4-FFF2-40B4-BE49-F238E27FC236}">
                <a16:creationId xmlns:a16="http://schemas.microsoft.com/office/drawing/2014/main" id="{94101ECF-0265-4587-8A2B-017B3310173A}"/>
              </a:ext>
            </a:extLst>
          </p:cNvPr>
          <p:cNvSpPr txBox="1"/>
          <p:nvPr/>
        </p:nvSpPr>
        <p:spPr>
          <a:xfrm>
            <a:off x="6899564" y="1172222"/>
            <a:ext cx="494499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3600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Des milliards de données à traiter chaque jour</a:t>
            </a: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51EE2BE-96C3-44CC-B232-8A6A3E0A9322}"/>
              </a:ext>
            </a:extLst>
          </p:cNvPr>
          <p:cNvGrpSpPr/>
          <p:nvPr/>
        </p:nvGrpSpPr>
        <p:grpSpPr>
          <a:xfrm>
            <a:off x="81856" y="6071877"/>
            <a:ext cx="731876" cy="696657"/>
            <a:chOff x="81856" y="6268713"/>
            <a:chExt cx="536895" cy="499821"/>
          </a:xfrm>
        </p:grpSpPr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id="{1ED8178D-342E-4D91-A950-C730A22D5929}"/>
                </a:ext>
              </a:extLst>
            </p:cNvPr>
            <p:cNvSpPr/>
            <p:nvPr/>
          </p:nvSpPr>
          <p:spPr>
            <a:xfrm>
              <a:off x="152777" y="6331654"/>
              <a:ext cx="395052" cy="371527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/>
                <a:t>1</a:t>
              </a:r>
              <a:endParaRPr lang="fr-FR" sz="700" dirty="0"/>
            </a:p>
          </p:txBody>
        </p:sp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45278370-558D-4AED-9243-1CB0CBB90E2F}"/>
                </a:ext>
              </a:extLst>
            </p:cNvPr>
            <p:cNvSpPr/>
            <p:nvPr/>
          </p:nvSpPr>
          <p:spPr>
            <a:xfrm>
              <a:off x="81856" y="6268713"/>
              <a:ext cx="536895" cy="499821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18" name="ZoneTexte 17">
            <a:extLst>
              <a:ext uri="{FF2B5EF4-FFF2-40B4-BE49-F238E27FC236}">
                <a16:creationId xmlns:a16="http://schemas.microsoft.com/office/drawing/2014/main" id="{6F86B8AF-9A4C-4533-A9AE-CFA392FBFFFB}"/>
              </a:ext>
            </a:extLst>
          </p:cNvPr>
          <p:cNvSpPr txBox="1"/>
          <p:nvPr/>
        </p:nvSpPr>
        <p:spPr>
          <a:xfrm>
            <a:off x="221672" y="1300870"/>
            <a:ext cx="2102489" cy="1335276"/>
          </a:xfrm>
          <a:prstGeom prst="rect">
            <a:avLst/>
          </a:prstGeom>
          <a:noFill/>
        </p:spPr>
        <p:txBody>
          <a:bodyPr wrap="square" lIns="103163" tIns="51581" rIns="103163" bIns="51581" rtlCol="0">
            <a:spAutoFit/>
          </a:bodyPr>
          <a:lstStyle/>
          <a:p>
            <a:r>
              <a:rPr lang="fr-FR" sz="1000" b="1" u="sng" dirty="0">
                <a:solidFill>
                  <a:srgbClr val="C00000"/>
                </a:solidFill>
              </a:rPr>
              <a:t>1/ </a:t>
            </a:r>
            <a:r>
              <a:rPr lang="fr-FR" sz="1000" b="1" u="sng" dirty="0">
                <a:solidFill>
                  <a:srgbClr val="C00000"/>
                </a:solidFill>
                <a:latin typeface="Reem Kufi Regular"/>
              </a:rPr>
              <a:t>Présentation du projet</a:t>
            </a:r>
          </a:p>
          <a:p>
            <a:endParaRPr lang="fr-FR" sz="1000" dirty="0">
              <a:solidFill>
                <a:srgbClr val="C00000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rgbClr val="C00000"/>
                </a:solidFill>
              </a:rPr>
              <a:t>Context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Problémat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Objectifs</a:t>
            </a:r>
          </a:p>
          <a:p>
            <a:pPr marL="226958" lvl="1"/>
            <a:r>
              <a:rPr lang="fr-FR" sz="1000" dirty="0">
                <a:solidFill>
                  <a:schemeClr val="bg1"/>
                </a:solidFill>
              </a:rPr>
              <a:t>  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6C9D107-B263-4F16-8A44-6FCFBB9426F3}"/>
              </a:ext>
            </a:extLst>
          </p:cNvPr>
          <p:cNvSpPr/>
          <p:nvPr/>
        </p:nvSpPr>
        <p:spPr>
          <a:xfrm>
            <a:off x="215033" y="2693441"/>
            <a:ext cx="2173758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2/Démarche employée</a:t>
            </a:r>
          </a:p>
          <a:p>
            <a:endParaRPr lang="fr-FR" sz="1000" b="1" u="sng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Grande ligne du projet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Moteur de recherche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Les applications utilisant le machine Learning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453B04E-DDC2-46CB-A807-B49E3203FE06}"/>
              </a:ext>
            </a:extLst>
          </p:cNvPr>
          <p:cNvSpPr/>
          <p:nvPr/>
        </p:nvSpPr>
        <p:spPr>
          <a:xfrm>
            <a:off x="221673" y="4047368"/>
            <a:ext cx="2167118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3/ Bilan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Techn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Personnel</a:t>
            </a:r>
          </a:p>
        </p:txBody>
      </p:sp>
    </p:spTree>
    <p:extLst>
      <p:ext uri="{BB962C8B-B14F-4D97-AF65-F5344CB8AC3E}">
        <p14:creationId xmlns:p14="http://schemas.microsoft.com/office/powerpoint/2010/main" val="3362931072"/>
      </p:ext>
    </p:extLst>
  </p:cSld>
  <p:clrMapOvr>
    <a:masterClrMapping/>
  </p:clrMapOvr>
  <p:transition spd="slow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C401337-C7CB-41A6-8CE0-3585D7CA23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3CF5856C-2DCC-4224-858C-F72B9191D8C8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F265E1-D21D-4CB3-BB3B-268924D2495C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3F4D2D-2973-4ACC-B192-B9B9C062B26E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Présentation du projet</a:t>
            </a:r>
            <a:endParaRPr lang="fr-FR" sz="4400" b="1" dirty="0">
              <a:solidFill>
                <a:schemeClr val="bg1"/>
              </a:solidFill>
            </a:endParaRPr>
          </a:p>
        </p:txBody>
      </p:sp>
      <p:pic>
        <p:nvPicPr>
          <p:cNvPr id="15" name="Picture 8" descr="Image associÃ©e">
            <a:extLst>
              <a:ext uri="{FF2B5EF4-FFF2-40B4-BE49-F238E27FC236}">
                <a16:creationId xmlns:a16="http://schemas.microsoft.com/office/drawing/2014/main" id="{D73B5BD8-0FA5-4DEF-9F26-E4C63F6FB2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1672" y="6161343"/>
            <a:ext cx="1810327" cy="69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ZoneTexte 16">
            <a:extLst>
              <a:ext uri="{FF2B5EF4-FFF2-40B4-BE49-F238E27FC236}">
                <a16:creationId xmlns:a16="http://schemas.microsoft.com/office/drawing/2014/main" id="{94101ECF-0265-4587-8A2B-017B3310173A}"/>
              </a:ext>
            </a:extLst>
          </p:cNvPr>
          <p:cNvSpPr txBox="1"/>
          <p:nvPr/>
        </p:nvSpPr>
        <p:spPr>
          <a:xfrm>
            <a:off x="2670628" y="1269191"/>
            <a:ext cx="702317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4000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Comment automatiser les taches nécessitant une lecture ? </a:t>
            </a:r>
          </a:p>
        </p:txBody>
      </p:sp>
      <p:pic>
        <p:nvPicPr>
          <p:cNvPr id="16" name="Picture 4" descr="RÃ©sultat de recherche d'images pour &quot;website&quot;">
            <a:extLst>
              <a:ext uri="{FF2B5EF4-FFF2-40B4-BE49-F238E27FC236}">
                <a16:creationId xmlns:a16="http://schemas.microsoft.com/office/drawing/2014/main" id="{D2ADB28A-68C2-4AB1-B78B-7170F81215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94011">
            <a:off x="4067759" y="3227276"/>
            <a:ext cx="4228911" cy="31180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1C5D9D1C-811B-4CC8-AEB5-88FC4C8427F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3930" y="3877323"/>
            <a:ext cx="2320478" cy="2320478"/>
          </a:xfrm>
          <a:prstGeom prst="rect">
            <a:avLst/>
          </a:prstGeom>
        </p:spPr>
      </p:pic>
      <p:grpSp>
        <p:nvGrpSpPr>
          <p:cNvPr id="30" name="Groupe 29">
            <a:extLst>
              <a:ext uri="{FF2B5EF4-FFF2-40B4-BE49-F238E27FC236}">
                <a16:creationId xmlns:a16="http://schemas.microsoft.com/office/drawing/2014/main" id="{99184F4E-E786-41F7-8FF2-DF0C64D502E1}"/>
              </a:ext>
            </a:extLst>
          </p:cNvPr>
          <p:cNvGrpSpPr/>
          <p:nvPr/>
        </p:nvGrpSpPr>
        <p:grpSpPr>
          <a:xfrm>
            <a:off x="81856" y="6071877"/>
            <a:ext cx="731876" cy="696657"/>
            <a:chOff x="81856" y="6268713"/>
            <a:chExt cx="536895" cy="499821"/>
          </a:xfrm>
        </p:grpSpPr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id="{300700A6-66DC-4417-9777-770A67377095}"/>
                </a:ext>
              </a:extLst>
            </p:cNvPr>
            <p:cNvSpPr/>
            <p:nvPr/>
          </p:nvSpPr>
          <p:spPr>
            <a:xfrm>
              <a:off x="152777" y="6331654"/>
              <a:ext cx="395052" cy="371527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/>
                <a:t>2</a:t>
              </a:r>
              <a:endParaRPr lang="fr-FR" sz="700" dirty="0"/>
            </a:p>
          </p:txBody>
        </p:sp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BD9E1393-A259-4000-9F24-9578D1A470BF}"/>
                </a:ext>
              </a:extLst>
            </p:cNvPr>
            <p:cNvSpPr/>
            <p:nvPr/>
          </p:nvSpPr>
          <p:spPr>
            <a:xfrm>
              <a:off x="81856" y="6268713"/>
              <a:ext cx="536895" cy="499821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20" name="ZoneTexte 19">
            <a:extLst>
              <a:ext uri="{FF2B5EF4-FFF2-40B4-BE49-F238E27FC236}">
                <a16:creationId xmlns:a16="http://schemas.microsoft.com/office/drawing/2014/main" id="{950C588C-92C8-407C-8B5B-B8CDEEC38406}"/>
              </a:ext>
            </a:extLst>
          </p:cNvPr>
          <p:cNvSpPr txBox="1"/>
          <p:nvPr/>
        </p:nvSpPr>
        <p:spPr>
          <a:xfrm>
            <a:off x="221672" y="1300870"/>
            <a:ext cx="2102489" cy="1335276"/>
          </a:xfrm>
          <a:prstGeom prst="rect">
            <a:avLst/>
          </a:prstGeom>
          <a:noFill/>
        </p:spPr>
        <p:txBody>
          <a:bodyPr wrap="square" lIns="103163" tIns="51581" rIns="103163" bIns="51581" rtlCol="0">
            <a:spAutoFit/>
          </a:bodyPr>
          <a:lstStyle/>
          <a:p>
            <a:r>
              <a:rPr lang="fr-FR" sz="1000" b="1" u="sng" dirty="0">
                <a:solidFill>
                  <a:srgbClr val="FF0000"/>
                </a:solidFill>
              </a:rPr>
              <a:t>1/ </a:t>
            </a:r>
            <a:r>
              <a:rPr lang="fr-FR" sz="1000" b="1" u="sng" dirty="0">
                <a:solidFill>
                  <a:srgbClr val="FF0000"/>
                </a:solidFill>
                <a:latin typeface="Reem Kufi Regular"/>
              </a:rPr>
              <a:t>Présentation du projet</a:t>
            </a:r>
          </a:p>
          <a:p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Context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rgbClr val="FF0000"/>
                </a:solidFill>
              </a:rPr>
              <a:t>Problémat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Objectifs</a:t>
            </a:r>
          </a:p>
          <a:p>
            <a:pPr marL="226958" lvl="1"/>
            <a:r>
              <a:rPr lang="fr-FR" sz="1000" dirty="0">
                <a:solidFill>
                  <a:schemeClr val="bg1"/>
                </a:solidFill>
              </a:rPr>
              <a:t>  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3372B17B-39E4-409C-B04E-CF984622868F}"/>
              </a:ext>
            </a:extLst>
          </p:cNvPr>
          <p:cNvSpPr/>
          <p:nvPr/>
        </p:nvSpPr>
        <p:spPr>
          <a:xfrm>
            <a:off x="215033" y="2693441"/>
            <a:ext cx="2173758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2/Démarche employée</a:t>
            </a:r>
          </a:p>
          <a:p>
            <a:endParaRPr lang="fr-FR" sz="1000" b="1" u="sng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Grande ligne du projet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Moteur de recherche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Les applications utilisant le machine Learning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F996D524-D126-4B02-8A4F-1BEB235DCBBF}"/>
              </a:ext>
            </a:extLst>
          </p:cNvPr>
          <p:cNvSpPr/>
          <p:nvPr/>
        </p:nvSpPr>
        <p:spPr>
          <a:xfrm>
            <a:off x="221673" y="4047368"/>
            <a:ext cx="2167118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3/ Bilan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Techn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Personnel</a:t>
            </a:r>
          </a:p>
        </p:txBody>
      </p:sp>
    </p:spTree>
    <p:extLst>
      <p:ext uri="{BB962C8B-B14F-4D97-AF65-F5344CB8AC3E}">
        <p14:creationId xmlns:p14="http://schemas.microsoft.com/office/powerpoint/2010/main" val="3471542132"/>
      </p:ext>
    </p:extLst>
  </p:cSld>
  <p:clrMapOvr>
    <a:masterClrMapping/>
  </p:clrMapOvr>
  <p:transition spd="slow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C401337-C7CB-41A6-8CE0-3585D7CA23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3CF5856C-2DCC-4224-858C-F72B9191D8C8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F265E1-D21D-4CB3-BB3B-268924D2495C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3F4D2D-2973-4ACC-B192-B9B9C062B26E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Présentation du projet</a:t>
            </a:r>
            <a:endParaRPr lang="fr-FR" sz="4400" b="1" dirty="0">
              <a:solidFill>
                <a:schemeClr val="bg1"/>
              </a:solidFill>
            </a:endParaRPr>
          </a:p>
        </p:txBody>
      </p:sp>
      <p:pic>
        <p:nvPicPr>
          <p:cNvPr id="15" name="Picture 8" descr="Image associÃ©e">
            <a:extLst>
              <a:ext uri="{FF2B5EF4-FFF2-40B4-BE49-F238E27FC236}">
                <a16:creationId xmlns:a16="http://schemas.microsoft.com/office/drawing/2014/main" id="{D73B5BD8-0FA5-4DEF-9F26-E4C63F6FB2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1672" y="6161343"/>
            <a:ext cx="1810327" cy="69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ZoneTexte 16">
            <a:extLst>
              <a:ext uri="{FF2B5EF4-FFF2-40B4-BE49-F238E27FC236}">
                <a16:creationId xmlns:a16="http://schemas.microsoft.com/office/drawing/2014/main" id="{94101ECF-0265-4587-8A2B-017B3310173A}"/>
              </a:ext>
            </a:extLst>
          </p:cNvPr>
          <p:cNvSpPr txBox="1"/>
          <p:nvPr/>
        </p:nvSpPr>
        <p:spPr>
          <a:xfrm>
            <a:off x="2030143" y="925981"/>
            <a:ext cx="1016185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2400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Notre objectif: </a:t>
            </a:r>
          </a:p>
          <a:p>
            <a:pPr algn="r"/>
            <a:r>
              <a:rPr lang="fr-FR" sz="2400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Développer des applications qui automatisent certaines taches fastidieuses </a:t>
            </a: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99184F4E-E786-41F7-8FF2-DF0C64D502E1}"/>
              </a:ext>
            </a:extLst>
          </p:cNvPr>
          <p:cNvGrpSpPr/>
          <p:nvPr/>
        </p:nvGrpSpPr>
        <p:grpSpPr>
          <a:xfrm>
            <a:off x="81856" y="6071877"/>
            <a:ext cx="731876" cy="696657"/>
            <a:chOff x="81856" y="6268713"/>
            <a:chExt cx="536895" cy="499821"/>
          </a:xfrm>
        </p:grpSpPr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id="{300700A6-66DC-4417-9777-770A67377095}"/>
                </a:ext>
              </a:extLst>
            </p:cNvPr>
            <p:cNvSpPr/>
            <p:nvPr/>
          </p:nvSpPr>
          <p:spPr>
            <a:xfrm>
              <a:off x="152777" y="6331654"/>
              <a:ext cx="395052" cy="371527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/>
                <a:t>3</a:t>
              </a:r>
              <a:endParaRPr lang="fr-FR" sz="700" dirty="0"/>
            </a:p>
          </p:txBody>
        </p:sp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BD9E1393-A259-4000-9F24-9578D1A470BF}"/>
                </a:ext>
              </a:extLst>
            </p:cNvPr>
            <p:cNvSpPr/>
            <p:nvPr/>
          </p:nvSpPr>
          <p:spPr>
            <a:xfrm>
              <a:off x="81856" y="6268713"/>
              <a:ext cx="536895" cy="499821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34" name="Image 33">
            <a:extLst>
              <a:ext uri="{FF2B5EF4-FFF2-40B4-BE49-F238E27FC236}">
                <a16:creationId xmlns:a16="http://schemas.microsoft.com/office/drawing/2014/main" id="{3A6A0D9E-D167-48CE-8CEE-6B7ED77E2BA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555428" y="4371769"/>
            <a:ext cx="666597" cy="670792"/>
          </a:xfrm>
          <a:prstGeom prst="rect">
            <a:avLst/>
          </a:prstGeom>
        </p:spPr>
      </p:pic>
      <p:pic>
        <p:nvPicPr>
          <p:cNvPr id="35" name="Image 34">
            <a:extLst>
              <a:ext uri="{FF2B5EF4-FFF2-40B4-BE49-F238E27FC236}">
                <a16:creationId xmlns:a16="http://schemas.microsoft.com/office/drawing/2014/main" id="{13B80AF1-2FB5-4B3A-B2B9-3EBFDCCD7D1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9574" y="5220106"/>
            <a:ext cx="851334" cy="851334"/>
          </a:xfrm>
          <a:prstGeom prst="rect">
            <a:avLst/>
          </a:prstGeom>
        </p:spPr>
      </p:pic>
      <p:pic>
        <p:nvPicPr>
          <p:cNvPr id="36" name="Image 35" descr="Une image contenant objet&#10;&#10;Description générée automatiquement">
            <a:extLst>
              <a:ext uri="{FF2B5EF4-FFF2-40B4-BE49-F238E27FC236}">
                <a16:creationId xmlns:a16="http://schemas.microsoft.com/office/drawing/2014/main" id="{2C903CEE-7B7C-46EC-AB29-C2492CEEEF1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1198" y="3371391"/>
            <a:ext cx="714278" cy="714278"/>
          </a:xfrm>
          <a:prstGeom prst="rect">
            <a:avLst/>
          </a:prstGeom>
        </p:spPr>
      </p:pic>
      <p:sp>
        <p:nvSpPr>
          <p:cNvPr id="37" name="ZoneTexte 36">
            <a:extLst>
              <a:ext uri="{FF2B5EF4-FFF2-40B4-BE49-F238E27FC236}">
                <a16:creationId xmlns:a16="http://schemas.microsoft.com/office/drawing/2014/main" id="{35D255BD-CEA3-4C83-9553-6E23D5475282}"/>
              </a:ext>
            </a:extLst>
          </p:cNvPr>
          <p:cNvSpPr txBox="1"/>
          <p:nvPr/>
        </p:nvSpPr>
        <p:spPr>
          <a:xfrm>
            <a:off x="3666053" y="5461107"/>
            <a:ext cx="231873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Analyse de spam</a:t>
            </a:r>
          </a:p>
        </p:txBody>
      </p:sp>
      <p:sp>
        <p:nvSpPr>
          <p:cNvPr id="38" name="ZoneTexte 37">
            <a:extLst>
              <a:ext uri="{FF2B5EF4-FFF2-40B4-BE49-F238E27FC236}">
                <a16:creationId xmlns:a16="http://schemas.microsoft.com/office/drawing/2014/main" id="{4255B6B1-CA42-4579-B324-368C8DA5F456}"/>
              </a:ext>
            </a:extLst>
          </p:cNvPr>
          <p:cNvSpPr txBox="1"/>
          <p:nvPr/>
        </p:nvSpPr>
        <p:spPr>
          <a:xfrm>
            <a:off x="2942297" y="4528015"/>
            <a:ext cx="37662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Moteur de recherche</a:t>
            </a:r>
          </a:p>
        </p:txBody>
      </p:sp>
      <p:sp>
        <p:nvSpPr>
          <p:cNvPr id="39" name="ZoneTexte 38">
            <a:extLst>
              <a:ext uri="{FF2B5EF4-FFF2-40B4-BE49-F238E27FC236}">
                <a16:creationId xmlns:a16="http://schemas.microsoft.com/office/drawing/2014/main" id="{EACD1968-6C1B-4112-9EB3-18A232749CF8}"/>
              </a:ext>
            </a:extLst>
          </p:cNvPr>
          <p:cNvSpPr txBox="1"/>
          <p:nvPr/>
        </p:nvSpPr>
        <p:spPr>
          <a:xfrm>
            <a:off x="3351724" y="3514810"/>
            <a:ext cx="31930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Catégorisation de texte</a:t>
            </a:r>
          </a:p>
        </p:txBody>
      </p:sp>
      <p:sp>
        <p:nvSpPr>
          <p:cNvPr id="40" name="ZoneTexte 39">
            <a:extLst>
              <a:ext uri="{FF2B5EF4-FFF2-40B4-BE49-F238E27FC236}">
                <a16:creationId xmlns:a16="http://schemas.microsoft.com/office/drawing/2014/main" id="{D96BCDBD-D46C-4525-836D-13CC633D298F}"/>
              </a:ext>
            </a:extLst>
          </p:cNvPr>
          <p:cNvSpPr txBox="1"/>
          <p:nvPr/>
        </p:nvSpPr>
        <p:spPr>
          <a:xfrm>
            <a:off x="3319245" y="2536410"/>
            <a:ext cx="32063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Analyse de sentiment</a:t>
            </a:r>
          </a:p>
        </p:txBody>
      </p:sp>
      <p:pic>
        <p:nvPicPr>
          <p:cNvPr id="41" name="Image 40">
            <a:extLst>
              <a:ext uri="{FF2B5EF4-FFF2-40B4-BE49-F238E27FC236}">
                <a16:creationId xmlns:a16="http://schemas.microsoft.com/office/drawing/2014/main" id="{3419290C-A622-4E58-A446-2181F8EFC98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7835" y="2421546"/>
            <a:ext cx="635009" cy="635009"/>
          </a:xfrm>
          <a:prstGeom prst="rect">
            <a:avLst/>
          </a:prstGeom>
        </p:spPr>
      </p:pic>
      <p:cxnSp>
        <p:nvCxnSpPr>
          <p:cNvPr id="42" name="Connecteur droit 41">
            <a:extLst>
              <a:ext uri="{FF2B5EF4-FFF2-40B4-BE49-F238E27FC236}">
                <a16:creationId xmlns:a16="http://schemas.microsoft.com/office/drawing/2014/main" id="{5E4D69E5-BD4D-4E9C-A41D-EBF3B1EBC7FF}"/>
              </a:ext>
            </a:extLst>
          </p:cNvPr>
          <p:cNvCxnSpPr>
            <a:cxnSpLocks/>
          </p:cNvCxnSpPr>
          <p:nvPr/>
        </p:nvCxnSpPr>
        <p:spPr>
          <a:xfrm>
            <a:off x="2491531" y="3168249"/>
            <a:ext cx="943761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necteur droit 42">
            <a:extLst>
              <a:ext uri="{FF2B5EF4-FFF2-40B4-BE49-F238E27FC236}">
                <a16:creationId xmlns:a16="http://schemas.microsoft.com/office/drawing/2014/main" id="{066E9922-775A-43D4-9EE8-214C3806B3C4}"/>
              </a:ext>
            </a:extLst>
          </p:cNvPr>
          <p:cNvCxnSpPr>
            <a:cxnSpLocks/>
          </p:cNvCxnSpPr>
          <p:nvPr/>
        </p:nvCxnSpPr>
        <p:spPr>
          <a:xfrm>
            <a:off x="2491531" y="4230883"/>
            <a:ext cx="943761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Connecteur droit 43">
            <a:extLst>
              <a:ext uri="{FF2B5EF4-FFF2-40B4-BE49-F238E27FC236}">
                <a16:creationId xmlns:a16="http://schemas.microsoft.com/office/drawing/2014/main" id="{E5C6F671-ED7A-48C4-8326-92C699098956}"/>
              </a:ext>
            </a:extLst>
          </p:cNvPr>
          <p:cNvCxnSpPr>
            <a:cxnSpLocks/>
          </p:cNvCxnSpPr>
          <p:nvPr/>
        </p:nvCxnSpPr>
        <p:spPr>
          <a:xfrm>
            <a:off x="2491531" y="5177363"/>
            <a:ext cx="943761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onnecteur droit 44">
            <a:extLst>
              <a:ext uri="{FF2B5EF4-FFF2-40B4-BE49-F238E27FC236}">
                <a16:creationId xmlns:a16="http://schemas.microsoft.com/office/drawing/2014/main" id="{BFF3A9F4-B815-4A8F-BB5A-627207C1F0BF}"/>
              </a:ext>
            </a:extLst>
          </p:cNvPr>
          <p:cNvCxnSpPr>
            <a:cxnSpLocks/>
          </p:cNvCxnSpPr>
          <p:nvPr/>
        </p:nvCxnSpPr>
        <p:spPr>
          <a:xfrm>
            <a:off x="2491531" y="6114183"/>
            <a:ext cx="943761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cteur droit 45">
            <a:extLst>
              <a:ext uri="{FF2B5EF4-FFF2-40B4-BE49-F238E27FC236}">
                <a16:creationId xmlns:a16="http://schemas.microsoft.com/office/drawing/2014/main" id="{AE44E053-AB04-4F3F-AA11-691BF1D8AB4F}"/>
              </a:ext>
            </a:extLst>
          </p:cNvPr>
          <p:cNvCxnSpPr>
            <a:cxnSpLocks/>
          </p:cNvCxnSpPr>
          <p:nvPr/>
        </p:nvCxnSpPr>
        <p:spPr>
          <a:xfrm>
            <a:off x="6544811" y="2373022"/>
            <a:ext cx="0" cy="374116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ZoneTexte 46">
            <a:extLst>
              <a:ext uri="{FF2B5EF4-FFF2-40B4-BE49-F238E27FC236}">
                <a16:creationId xmlns:a16="http://schemas.microsoft.com/office/drawing/2014/main" id="{2D912A38-C66E-4091-A883-D3483409D104}"/>
              </a:ext>
            </a:extLst>
          </p:cNvPr>
          <p:cNvSpPr txBox="1"/>
          <p:nvPr/>
        </p:nvSpPr>
        <p:spPr>
          <a:xfrm>
            <a:off x="6634970" y="2451619"/>
            <a:ext cx="531335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Récupération de tweet pour évaluer le sentiment d’une publication</a:t>
            </a:r>
          </a:p>
        </p:txBody>
      </p:sp>
      <p:sp>
        <p:nvSpPr>
          <p:cNvPr id="48" name="ZoneTexte 47">
            <a:extLst>
              <a:ext uri="{FF2B5EF4-FFF2-40B4-BE49-F238E27FC236}">
                <a16:creationId xmlns:a16="http://schemas.microsoft.com/office/drawing/2014/main" id="{6629F339-A426-40A9-BC1D-39430D2296B0}"/>
              </a:ext>
            </a:extLst>
          </p:cNvPr>
          <p:cNvSpPr txBox="1"/>
          <p:nvPr/>
        </p:nvSpPr>
        <p:spPr>
          <a:xfrm>
            <a:off x="6647551" y="3376310"/>
            <a:ext cx="489429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Récupération de texte et rangement automatique par catégorie</a:t>
            </a:r>
          </a:p>
        </p:txBody>
      </p:sp>
      <p:sp>
        <p:nvSpPr>
          <p:cNvPr id="49" name="ZoneTexte 48">
            <a:extLst>
              <a:ext uri="{FF2B5EF4-FFF2-40B4-BE49-F238E27FC236}">
                <a16:creationId xmlns:a16="http://schemas.microsoft.com/office/drawing/2014/main" id="{154FAEF9-AC5E-481D-9418-FA6B07DE79DC}"/>
              </a:ext>
            </a:extLst>
          </p:cNvPr>
          <p:cNvSpPr txBox="1"/>
          <p:nvPr/>
        </p:nvSpPr>
        <p:spPr>
          <a:xfrm>
            <a:off x="6660984" y="4268686"/>
            <a:ext cx="502204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Réalisation d’une application permettant de trouver le texte le plus pertinent à partir d’une recherche de mot</a:t>
            </a:r>
          </a:p>
        </p:txBody>
      </p:sp>
      <p:sp>
        <p:nvSpPr>
          <p:cNvPr id="50" name="ZoneTexte 49">
            <a:extLst>
              <a:ext uri="{FF2B5EF4-FFF2-40B4-BE49-F238E27FC236}">
                <a16:creationId xmlns:a16="http://schemas.microsoft.com/office/drawing/2014/main" id="{156BEC5A-6C69-41F7-96EA-F874444F01CF}"/>
              </a:ext>
            </a:extLst>
          </p:cNvPr>
          <p:cNvSpPr txBox="1"/>
          <p:nvPr/>
        </p:nvSpPr>
        <p:spPr>
          <a:xfrm>
            <a:off x="6670625" y="5277328"/>
            <a:ext cx="484814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Réalisation d’une application permettant de vérifier si le texte saisie est un SPAM</a:t>
            </a:r>
          </a:p>
        </p:txBody>
      </p:sp>
      <p:cxnSp>
        <p:nvCxnSpPr>
          <p:cNvPr id="51" name="Connecteur droit 50">
            <a:extLst>
              <a:ext uri="{FF2B5EF4-FFF2-40B4-BE49-F238E27FC236}">
                <a16:creationId xmlns:a16="http://schemas.microsoft.com/office/drawing/2014/main" id="{9C76CC51-A5CA-42F8-A464-18B24DDE3FCC}"/>
              </a:ext>
            </a:extLst>
          </p:cNvPr>
          <p:cNvCxnSpPr>
            <a:cxnSpLocks/>
          </p:cNvCxnSpPr>
          <p:nvPr/>
        </p:nvCxnSpPr>
        <p:spPr>
          <a:xfrm>
            <a:off x="11929145" y="2373022"/>
            <a:ext cx="0" cy="374116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8" name="Image 57">
            <a:extLst>
              <a:ext uri="{FF2B5EF4-FFF2-40B4-BE49-F238E27FC236}">
                <a16:creationId xmlns:a16="http://schemas.microsoft.com/office/drawing/2014/main" id="{C8CA8CB6-6AC6-4B21-9709-B71AC405D82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7835" y="2421546"/>
            <a:ext cx="635009" cy="635009"/>
          </a:xfrm>
          <a:prstGeom prst="rect">
            <a:avLst/>
          </a:prstGeom>
        </p:spPr>
      </p:pic>
      <p:sp>
        <p:nvSpPr>
          <p:cNvPr id="59" name="ZoneTexte 58">
            <a:extLst>
              <a:ext uri="{FF2B5EF4-FFF2-40B4-BE49-F238E27FC236}">
                <a16:creationId xmlns:a16="http://schemas.microsoft.com/office/drawing/2014/main" id="{409670C0-35D0-4ABB-A849-C23058CC9E55}"/>
              </a:ext>
            </a:extLst>
          </p:cNvPr>
          <p:cNvSpPr txBox="1"/>
          <p:nvPr/>
        </p:nvSpPr>
        <p:spPr>
          <a:xfrm>
            <a:off x="221672" y="1300870"/>
            <a:ext cx="2102489" cy="1335276"/>
          </a:xfrm>
          <a:prstGeom prst="rect">
            <a:avLst/>
          </a:prstGeom>
          <a:noFill/>
        </p:spPr>
        <p:txBody>
          <a:bodyPr wrap="square" lIns="103163" tIns="51581" rIns="103163" bIns="51581" rtlCol="0">
            <a:spAutoFit/>
          </a:bodyPr>
          <a:lstStyle/>
          <a:p>
            <a:r>
              <a:rPr lang="fr-FR" sz="1000" b="1" u="sng" dirty="0">
                <a:solidFill>
                  <a:srgbClr val="FF0000"/>
                </a:solidFill>
              </a:rPr>
              <a:t>1/ </a:t>
            </a:r>
            <a:r>
              <a:rPr lang="fr-FR" sz="1000" b="1" u="sng" dirty="0">
                <a:solidFill>
                  <a:srgbClr val="FF0000"/>
                </a:solidFill>
                <a:latin typeface="Reem Kufi Regular"/>
              </a:rPr>
              <a:t>Présentation du projet</a:t>
            </a:r>
          </a:p>
          <a:p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Context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Problémat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rgbClr val="FF0000"/>
                </a:solidFill>
              </a:rPr>
              <a:t>Objectifs</a:t>
            </a:r>
          </a:p>
          <a:p>
            <a:pPr marL="226958" lvl="1"/>
            <a:r>
              <a:rPr lang="fr-FR" sz="1000" dirty="0">
                <a:solidFill>
                  <a:schemeClr val="bg1"/>
                </a:solidFill>
              </a:rPr>
              <a:t>  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4C3B5E17-D735-476B-8BE4-794E318ECBB0}"/>
              </a:ext>
            </a:extLst>
          </p:cNvPr>
          <p:cNvSpPr/>
          <p:nvPr/>
        </p:nvSpPr>
        <p:spPr>
          <a:xfrm>
            <a:off x="215033" y="2693441"/>
            <a:ext cx="2173758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2/Démarche employée</a:t>
            </a:r>
          </a:p>
          <a:p>
            <a:endParaRPr lang="fr-FR" sz="1000" b="1" u="sng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Grande ligne du projet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Moteur de recherche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Les applications utilisant le machine Learning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6F556071-2178-46B1-B067-EAD5E27DC410}"/>
              </a:ext>
            </a:extLst>
          </p:cNvPr>
          <p:cNvSpPr/>
          <p:nvPr/>
        </p:nvSpPr>
        <p:spPr>
          <a:xfrm>
            <a:off x="221673" y="4047368"/>
            <a:ext cx="2167118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3/ Bilan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Techn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Personnel</a:t>
            </a:r>
          </a:p>
        </p:txBody>
      </p:sp>
    </p:spTree>
    <p:extLst>
      <p:ext uri="{BB962C8B-B14F-4D97-AF65-F5344CB8AC3E}">
        <p14:creationId xmlns:p14="http://schemas.microsoft.com/office/powerpoint/2010/main" val="739651237"/>
      </p:ext>
    </p:extLst>
  </p:cSld>
  <p:clrMapOvr>
    <a:masterClrMapping/>
  </p:clrMapOvr>
  <p:transition spd="slow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9778D14-8845-4FB8-BB12-1F68B7686C2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17742AAE-5BCB-433E-96F0-68564AA6FCD0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F570B9A-2132-4B98-83A6-D75BEA1DE1CD}"/>
              </a:ext>
            </a:extLst>
          </p:cNvPr>
          <p:cNvSpPr/>
          <p:nvPr/>
        </p:nvSpPr>
        <p:spPr>
          <a:xfrm rot="505374">
            <a:off x="1290125" y="783655"/>
            <a:ext cx="45719" cy="6104049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ADFEE18B-16CB-4F9E-BD4A-6E9EB8C267C2}"/>
              </a:ext>
            </a:extLst>
          </p:cNvPr>
          <p:cNvSpPr/>
          <p:nvPr/>
        </p:nvSpPr>
        <p:spPr>
          <a:xfrm>
            <a:off x="933033" y="2928866"/>
            <a:ext cx="1000267" cy="1000267"/>
          </a:xfrm>
          <a:prstGeom prst="ellipse">
            <a:avLst/>
          </a:prstGeom>
          <a:solidFill>
            <a:schemeClr val="tx2">
              <a:lumMod val="5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4400" dirty="0"/>
              <a:t>2</a:t>
            </a:r>
            <a:endParaRPr lang="fr-FR" dirty="0"/>
          </a:p>
        </p:txBody>
      </p:sp>
      <p:sp>
        <p:nvSpPr>
          <p:cNvPr id="13" name="Ellipse 12">
            <a:extLst>
              <a:ext uri="{FF2B5EF4-FFF2-40B4-BE49-F238E27FC236}">
                <a16:creationId xmlns:a16="http://schemas.microsoft.com/office/drawing/2014/main" id="{86D5B5F8-020D-4622-B97A-0A1905D431A4}"/>
              </a:ext>
            </a:extLst>
          </p:cNvPr>
          <p:cNvSpPr/>
          <p:nvPr/>
        </p:nvSpPr>
        <p:spPr>
          <a:xfrm>
            <a:off x="843315" y="2836105"/>
            <a:ext cx="1182752" cy="1182752"/>
          </a:xfrm>
          <a:prstGeom prst="ellips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7D6485DA-8B9C-4E00-B5C8-62A8D11E6307}"/>
              </a:ext>
            </a:extLst>
          </p:cNvPr>
          <p:cNvSpPr txBox="1"/>
          <p:nvPr/>
        </p:nvSpPr>
        <p:spPr>
          <a:xfrm>
            <a:off x="2180839" y="2910861"/>
            <a:ext cx="7830320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600" dirty="0">
                <a:solidFill>
                  <a:schemeClr val="bg1"/>
                </a:solidFill>
                <a:latin typeface="Reem Kufi Regular"/>
              </a:rPr>
              <a:t>Démarche employée</a:t>
            </a:r>
            <a:endParaRPr lang="fr-FR" sz="6600" dirty="0">
              <a:solidFill>
                <a:schemeClr val="bg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27D19A-C2E1-4390-B8F2-E28EE5020D7E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06871601"/>
      </p:ext>
    </p:extLst>
  </p:cSld>
  <p:clrMapOvr>
    <a:masterClrMapping/>
  </p:clrMapOvr>
  <p:transition spd="slow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VCTCREATESHAPEHANDLED" val="0"/>
  <p:tag name="MIO_GUID" val="0922e265-ccd4-4bb9-89b0-e01f20386b53"/>
  <p:tag name="MIO_EK" val="2518"/>
  <p:tag name="MIO_EKGUID" val="66861cad-1d38-4182-9662-1f050ef1397e"/>
  <p:tag name="MIO_UPDATE" val="True"/>
  <p:tag name="MIO_VERSION" val="05.06.2017 17:04:51"/>
  <p:tag name="MIO_DBID" val="218709A9-2117-4AF1-A1EA-309C9A305E58"/>
  <p:tag name="MIO_LASTDOWNLOADED" val="17.07.2018 17:15:29"/>
  <p:tag name="MIO_OBJECTNAME" val="Controller_High"/>
  <p:tag name="MIO_LASTEDITORNAME" val="Michaela Kapall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GUID" val="776526f2-cc25-467d-a0e6-5027ffb41ffc"/>
  <p:tag name="MIO_EK" val="2518"/>
  <p:tag name="MIO_EKGUID" val="66861cad-1d38-4182-9662-1f050ef1397e"/>
  <p:tag name="MIO_UPDATE" val="True"/>
  <p:tag name="MIO_VERSION" val="05.06.2017 17:04:51"/>
  <p:tag name="MIO_DBID" val="218709A9-2117-4AF1-A1EA-309C9A305E58"/>
  <p:tag name="MIO_LASTDOWNLOADED" val="17.07.2018 17:15:29"/>
  <p:tag name="MIO_OBJECTNAME" val="Controller_High"/>
  <p:tag name="MIO_LASTEDITORNAME" val="Michaela Kapall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70fa1d6-6f5f-4f7e-8b84-4ec73f5cbd39"/>
  <p:tag name="MIO_EK" val="2530"/>
  <p:tag name="MIO_EKGUID" val="c495a97d-ed61-4020-9ed1-7d90810985ee"/>
  <p:tag name="MIO_UPDATE" val="True"/>
  <p:tag name="MIO_VERSION" val="22.08.2017 10:48:52"/>
  <p:tag name="MIO_DBID" val="218709A9-2117-4AF1-A1EA-309C9A305E58"/>
  <p:tag name="MIO_LASTDOWNLOADED" val="17.07.2018 15:43:49"/>
  <p:tag name="MIO_OBJECTNAME" val="Title"/>
  <p:tag name="MIO_LASTEDITORNAME" val="Michaela Kapall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VCTCREATESHAPEHANDLED" val="0"/>
  <p:tag name="MIO_GUID" val="0922e265-ccd4-4bb9-89b0-e01f20386b53"/>
  <p:tag name="MIO_EK" val="2518"/>
  <p:tag name="MIO_EKGUID" val="66861cad-1d38-4182-9662-1f050ef1397e"/>
  <p:tag name="MIO_UPDATE" val="True"/>
  <p:tag name="MIO_VERSION" val="05.06.2017 17:04:51"/>
  <p:tag name="MIO_DBID" val="218709A9-2117-4AF1-A1EA-309C9A305E58"/>
  <p:tag name="MIO_LASTDOWNLOADED" val="17.07.2018 17:15:29"/>
  <p:tag name="MIO_OBJECTNAME" val="Controller_High"/>
  <p:tag name="MIO_LASTEDITORNAME" val="Michaela Kapall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e61fa12-e591-43bc-b05e-b26140aaacb6"/>
  <p:tag name="MIO_EK" val="674"/>
  <p:tag name="MIO_EKGUID" val="00c2d5a7-01b6-47b9-b6ef-ee73ff8bcb3b"/>
  <p:tag name="MIO_UPDATE" val="True"/>
  <p:tag name="MIO_VERSION" val="21.09.2015 16:37:42"/>
  <p:tag name="MIO_DBID" val="218709A9-2117-4AF1-A1EA-309C9A305E58"/>
  <p:tag name="MIO_LASTDOWNLOADED" val="17.07.2018 15:25:16"/>
  <p:tag name="MIO_OBJECTNAME" val="Value Chain with Textboxes"/>
  <p:tag name="MIO_LASTEDITORNAME" val="empower enterpris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70fa1d6-6f5f-4f7e-8b84-4ec73f5cbd39"/>
  <p:tag name="MIO_EK" val="2530"/>
  <p:tag name="MIO_EKGUID" val="c495a97d-ed61-4020-9ed1-7d90810985ee"/>
  <p:tag name="MIO_UPDATE" val="True"/>
  <p:tag name="MIO_VERSION" val="22.08.2017 10:48:52"/>
  <p:tag name="MIO_DBID" val="218709A9-2117-4AF1-A1EA-309C9A305E58"/>
  <p:tag name="MIO_LASTDOWNLOADED" val="17.07.2018 15:43:49"/>
  <p:tag name="MIO_OBJECTNAME" val="Title"/>
  <p:tag name="MIO_LASTEDITORNAME" val="Michaela Kapall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GUID" val="a7318440-d178-4032-8d2d-c8550f1d93fd"/>
  <p:tag name="MIO_EK" val="2518"/>
  <p:tag name="MIO_EKGUID" val="66861cad-1d38-4182-9662-1f050ef1397e"/>
  <p:tag name="MIO_UPDATE" val="True"/>
  <p:tag name="MIO_VERSION" val="05.06.2017 17:04:51"/>
  <p:tag name="MIO_DBID" val="218709A9-2117-4AF1-A1EA-309C9A305E58"/>
  <p:tag name="MIO_LASTDOWNLOADED" val="17.07.2018 17:15:29"/>
  <p:tag name="MIO_OBJECTNAME" val="Controller_High"/>
  <p:tag name="MIO_LASTEDITORNAME" val="Michaela Kapall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GUID" val="776526f2-cc25-467d-a0e6-5027ffb41ffc"/>
  <p:tag name="MIO_EK" val="2518"/>
  <p:tag name="MIO_EKGUID" val="66861cad-1d38-4182-9662-1f050ef1397e"/>
  <p:tag name="MIO_UPDATE" val="True"/>
  <p:tag name="MIO_VERSION" val="05.06.2017 17:04:51"/>
  <p:tag name="MIO_DBID" val="218709A9-2117-4AF1-A1EA-309C9A305E58"/>
  <p:tag name="MIO_LASTDOWNLOADED" val="17.07.2018 17:15:29"/>
  <p:tag name="MIO_OBJECTNAME" val="Controller_High"/>
  <p:tag name="MIO_LASTEDITORNAME" val="Michaela Kapall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70fa1d6-6f5f-4f7e-8b84-4ec73f5cbd39"/>
  <p:tag name="MIO_EK" val="2530"/>
  <p:tag name="MIO_EKGUID" val="c495a97d-ed61-4020-9ed1-7d90810985ee"/>
  <p:tag name="MIO_UPDATE" val="True"/>
  <p:tag name="MIO_VERSION" val="22.08.2017 10:48:52"/>
  <p:tag name="MIO_DBID" val="218709A9-2117-4AF1-A1EA-309C9A305E58"/>
  <p:tag name="MIO_LASTDOWNLOADED" val="17.07.2018 15:43:49"/>
  <p:tag name="MIO_OBJECTNAME" val="Title"/>
  <p:tag name="MIO_LASTEDITORNAME" val="Michaela Kapall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70fa1d6-6f5f-4f7e-8b84-4ec73f5cbd39"/>
  <p:tag name="MIO_EK" val="2530"/>
  <p:tag name="MIO_EKGUID" val="c495a97d-ed61-4020-9ed1-7d90810985ee"/>
  <p:tag name="MIO_UPDATE" val="True"/>
  <p:tag name="MIO_VERSION" val="22.08.2017 10:48:52"/>
  <p:tag name="MIO_DBID" val="218709A9-2117-4AF1-A1EA-309C9A305E58"/>
  <p:tag name="MIO_LASTDOWNLOADED" val="17.07.2018 15:43:49"/>
  <p:tag name="MIO_OBJECTNAME" val="Title"/>
  <p:tag name="MIO_LASTEDITORNAME" val="Michaela Kapall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VCTCREATESHAPEHANDLED" val="0"/>
  <p:tag name="MIO_GUID" val="0922e265-ccd4-4bb9-89b0-e01f20386b53"/>
  <p:tag name="MIO_EK" val="2518"/>
  <p:tag name="MIO_EKGUID" val="66861cad-1d38-4182-9662-1f050ef1397e"/>
  <p:tag name="MIO_UPDATE" val="True"/>
  <p:tag name="MIO_VERSION" val="05.06.2017 17:04:51"/>
  <p:tag name="MIO_DBID" val="218709A9-2117-4AF1-A1EA-309C9A305E58"/>
  <p:tag name="MIO_LASTDOWNLOADED" val="17.07.2018 17:15:29"/>
  <p:tag name="MIO_OBJECTNAME" val="Controller_High"/>
  <p:tag name="MIO_LASTEDITORNAME" val="Michaela Kapall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e61fa12-e591-43bc-b05e-b26140aaacb6"/>
  <p:tag name="MIO_EK" val="674"/>
  <p:tag name="MIO_EKGUID" val="00c2d5a7-01b6-47b9-b6ef-ee73ff8bcb3b"/>
  <p:tag name="MIO_UPDATE" val="True"/>
  <p:tag name="MIO_VERSION" val="21.09.2015 16:37:42"/>
  <p:tag name="MIO_DBID" val="218709A9-2117-4AF1-A1EA-309C9A305E58"/>
  <p:tag name="MIO_LASTDOWNLOADED" val="17.07.2018 15:25:16"/>
  <p:tag name="MIO_OBJECTNAME" val="Value Chain with Textboxes"/>
  <p:tag name="MIO_LASTEDITORNAME" val="empower enterpris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e61fa12-e591-43bc-b05e-b26140aaacb6"/>
  <p:tag name="MIO_EK" val="674"/>
  <p:tag name="MIO_EKGUID" val="00c2d5a7-01b6-47b9-b6ef-ee73ff8bcb3b"/>
  <p:tag name="MIO_UPDATE" val="True"/>
  <p:tag name="MIO_VERSION" val="21.09.2015 16:37:42"/>
  <p:tag name="MIO_DBID" val="218709A9-2117-4AF1-A1EA-309C9A305E58"/>
  <p:tag name="MIO_LASTDOWNLOADED" val="17.07.2018 15:25:16"/>
  <p:tag name="MIO_OBJECTNAME" val="Value Chain with Textboxes"/>
  <p:tag name="MIO_LASTEDITORNAME" val="empower enterpris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70fa1d6-6f5f-4f7e-8b84-4ec73f5cbd39"/>
  <p:tag name="MIO_EK" val="2530"/>
  <p:tag name="MIO_EKGUID" val="c495a97d-ed61-4020-9ed1-7d90810985ee"/>
  <p:tag name="MIO_UPDATE" val="True"/>
  <p:tag name="MIO_VERSION" val="22.08.2017 10:48:52"/>
  <p:tag name="MIO_DBID" val="218709A9-2117-4AF1-A1EA-309C9A305E58"/>
  <p:tag name="MIO_LASTDOWNLOADED" val="17.07.2018 15:43:49"/>
  <p:tag name="MIO_OBJECTNAME" val="Title"/>
  <p:tag name="MIO_LASTEDITORNAME" val="Michaela Kapall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GUID" val="a7318440-d178-4032-8d2d-c8550f1d93fd"/>
  <p:tag name="MIO_EK" val="2518"/>
  <p:tag name="MIO_EKGUID" val="66861cad-1d38-4182-9662-1f050ef1397e"/>
  <p:tag name="MIO_UPDATE" val="True"/>
  <p:tag name="MIO_VERSION" val="05.06.2017 17:04:51"/>
  <p:tag name="MIO_DBID" val="218709A9-2117-4AF1-A1EA-309C9A305E58"/>
  <p:tag name="MIO_LASTDOWNLOADED" val="17.07.2018 17:15:29"/>
  <p:tag name="MIO_OBJECTNAME" val="Controller_High"/>
  <p:tag name="MIO_LASTEDITORNAME" val="Michaela Kapall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GUID" val="776526f2-cc25-467d-a0e6-5027ffb41ffc"/>
  <p:tag name="MIO_EK" val="2518"/>
  <p:tag name="MIO_EKGUID" val="66861cad-1d38-4182-9662-1f050ef1397e"/>
  <p:tag name="MIO_UPDATE" val="True"/>
  <p:tag name="MIO_VERSION" val="05.06.2017 17:04:51"/>
  <p:tag name="MIO_DBID" val="218709A9-2117-4AF1-A1EA-309C9A305E58"/>
  <p:tag name="MIO_LASTDOWNLOADED" val="17.07.2018 17:15:29"/>
  <p:tag name="MIO_OBJECTNAME" val="Controller_High"/>
  <p:tag name="MIO_LASTEDITORNAME" val="Michaela Kapall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70fa1d6-6f5f-4f7e-8b84-4ec73f5cbd39"/>
  <p:tag name="MIO_EK" val="2530"/>
  <p:tag name="MIO_EKGUID" val="c495a97d-ed61-4020-9ed1-7d90810985ee"/>
  <p:tag name="MIO_UPDATE" val="True"/>
  <p:tag name="MIO_VERSION" val="22.08.2017 10:48:52"/>
  <p:tag name="MIO_DBID" val="218709A9-2117-4AF1-A1EA-309C9A305E58"/>
  <p:tag name="MIO_LASTDOWNLOADED" val="17.07.2018 15:43:49"/>
  <p:tag name="MIO_OBJECTNAME" val="Title"/>
  <p:tag name="MIO_LASTEDITORNAME" val="Michaela Kapall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70fa1d6-6f5f-4f7e-8b84-4ec73f5cbd39"/>
  <p:tag name="MIO_EK" val="2530"/>
  <p:tag name="MIO_EKGUID" val="c495a97d-ed61-4020-9ed1-7d90810985ee"/>
  <p:tag name="MIO_UPDATE" val="True"/>
  <p:tag name="MIO_VERSION" val="22.08.2017 10:48:52"/>
  <p:tag name="MIO_DBID" val="218709A9-2117-4AF1-A1EA-309C9A305E58"/>
  <p:tag name="MIO_LASTDOWNLOADED" val="17.07.2018 15:43:49"/>
  <p:tag name="MIO_OBJECTNAME" val="Title"/>
  <p:tag name="MIO_LASTEDITORNAME" val="Michaela Kapall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70fa1d6-6f5f-4f7e-8b84-4ec73f5cbd39"/>
  <p:tag name="MIO_EK" val="2530"/>
  <p:tag name="MIO_EKGUID" val="c495a97d-ed61-4020-9ed1-7d90810985ee"/>
  <p:tag name="MIO_UPDATE" val="True"/>
  <p:tag name="MIO_VERSION" val="22.08.2017 10:48:52"/>
  <p:tag name="MIO_DBID" val="218709A9-2117-4AF1-A1EA-309C9A305E58"/>
  <p:tag name="MIO_LASTDOWNLOADED" val="17.07.2018 15:43:49"/>
  <p:tag name="MIO_OBJECTNAME" val="Title"/>
  <p:tag name="MIO_LASTEDITORNAME" val="Michaela Kapall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GUID" val="776526f2-cc25-467d-a0e6-5027ffb41ffc"/>
  <p:tag name="MIO_EK" val="2518"/>
  <p:tag name="MIO_EKGUID" val="66861cad-1d38-4182-9662-1f050ef1397e"/>
  <p:tag name="MIO_UPDATE" val="True"/>
  <p:tag name="MIO_VERSION" val="05.06.2017 17:04:51"/>
  <p:tag name="MIO_DBID" val="218709A9-2117-4AF1-A1EA-309C9A305E58"/>
  <p:tag name="MIO_LASTDOWNLOADED" val="17.07.2018 17:15:29"/>
  <p:tag name="MIO_OBJECTNAME" val="Controller_High"/>
  <p:tag name="MIO_LASTEDITORNAME" val="Michaela Kapall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e61fa12-e591-43bc-b05e-b26140aaacb6"/>
  <p:tag name="MIO_EK" val="674"/>
  <p:tag name="MIO_EKGUID" val="00c2d5a7-01b6-47b9-b6ef-ee73ff8bcb3b"/>
  <p:tag name="MIO_UPDATE" val="True"/>
  <p:tag name="MIO_VERSION" val="21.09.2015 16:37:42"/>
  <p:tag name="MIO_DBID" val="218709A9-2117-4AF1-A1EA-309C9A305E58"/>
  <p:tag name="MIO_LASTDOWNLOADED" val="17.07.2018 15:25:16"/>
  <p:tag name="MIO_OBJECTNAME" val="Value Chain with Textboxes"/>
  <p:tag name="MIO_LASTEDITORNAME" val="empower enterpris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70fa1d6-6f5f-4f7e-8b84-4ec73f5cbd39"/>
  <p:tag name="MIO_EK" val="2530"/>
  <p:tag name="MIO_EKGUID" val="c495a97d-ed61-4020-9ed1-7d90810985ee"/>
  <p:tag name="MIO_UPDATE" val="True"/>
  <p:tag name="MIO_VERSION" val="22.08.2017 10:48:52"/>
  <p:tag name="MIO_DBID" val="218709A9-2117-4AF1-A1EA-309C9A305E58"/>
  <p:tag name="MIO_LASTDOWNLOADED" val="17.07.2018 15:43:49"/>
  <p:tag name="MIO_OBJECTNAME" val="Title"/>
  <p:tag name="MIO_LASTEDITORNAME" val="Michaela Kapall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70fa1d6-6f5f-4f7e-8b84-4ec73f5cbd39"/>
  <p:tag name="MIO_EK" val="2530"/>
  <p:tag name="MIO_EKGUID" val="c495a97d-ed61-4020-9ed1-7d90810985ee"/>
  <p:tag name="MIO_UPDATE" val="True"/>
  <p:tag name="MIO_VERSION" val="22.08.2017 10:48:52"/>
  <p:tag name="MIO_DBID" val="218709A9-2117-4AF1-A1EA-309C9A305E58"/>
  <p:tag name="MIO_LASTDOWNLOADED" val="17.07.2018 15:43:49"/>
  <p:tag name="MIO_OBJECTNAME" val="Title"/>
  <p:tag name="MIO_LASTEDITORNAME" val="Michaela Kapall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70fa1d6-6f5f-4f7e-8b84-4ec73f5cbd39"/>
  <p:tag name="MIO_EK" val="2530"/>
  <p:tag name="MIO_EKGUID" val="c495a97d-ed61-4020-9ed1-7d90810985ee"/>
  <p:tag name="MIO_UPDATE" val="True"/>
  <p:tag name="MIO_VERSION" val="22.08.2017 10:48:52"/>
  <p:tag name="MIO_DBID" val="218709A9-2117-4AF1-A1EA-309C9A305E58"/>
  <p:tag name="MIO_LASTDOWNLOADED" val="17.07.2018 15:43:49"/>
  <p:tag name="MIO_OBJECTNAME" val="Title"/>
  <p:tag name="MIO_LASTEDITORNAME" val="Michaela Kapall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70fa1d6-6f5f-4f7e-8b84-4ec73f5cbd39"/>
  <p:tag name="MIO_EK" val="2530"/>
  <p:tag name="MIO_EKGUID" val="c495a97d-ed61-4020-9ed1-7d90810985ee"/>
  <p:tag name="MIO_UPDATE" val="True"/>
  <p:tag name="MIO_VERSION" val="22.08.2017 10:48:52"/>
  <p:tag name="MIO_DBID" val="218709A9-2117-4AF1-A1EA-309C9A305E58"/>
  <p:tag name="MIO_LASTDOWNLOADED" val="17.07.2018 15:43:49"/>
  <p:tag name="MIO_OBJECTNAME" val="Title"/>
  <p:tag name="MIO_LASTEDITORNAME" val="Michaela Kapall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70fa1d6-6f5f-4f7e-8b84-4ec73f5cbd39"/>
  <p:tag name="MIO_EK" val="2530"/>
  <p:tag name="MIO_EKGUID" val="c495a97d-ed61-4020-9ed1-7d90810985ee"/>
  <p:tag name="MIO_UPDATE" val="True"/>
  <p:tag name="MIO_VERSION" val="22.08.2017 10:48:52"/>
  <p:tag name="MIO_DBID" val="218709A9-2117-4AF1-A1EA-309C9A305E58"/>
  <p:tag name="MIO_LASTDOWNLOADED" val="17.07.2018 15:43:49"/>
  <p:tag name="MIO_OBJECTNAME" val="Title"/>
  <p:tag name="MIO_LASTEDITORNAME" val="Michaela Kapall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GUID" val="a7318440-d178-4032-8d2d-c8550f1d93fd"/>
  <p:tag name="MIO_EK" val="2518"/>
  <p:tag name="MIO_EKGUID" val="66861cad-1d38-4182-9662-1f050ef1397e"/>
  <p:tag name="MIO_UPDATE" val="True"/>
  <p:tag name="MIO_VERSION" val="05.06.2017 17:04:51"/>
  <p:tag name="MIO_DBID" val="218709A9-2117-4AF1-A1EA-309C9A305E58"/>
  <p:tag name="MIO_LASTDOWNLOADED" val="17.07.2018 17:15:29"/>
  <p:tag name="MIO_OBJECTNAME" val="Controller_High"/>
  <p:tag name="MIO_LASTEDITORNAME" val="Michaela Kapall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GUID" val="776526f2-cc25-467d-a0e6-5027ffb41ffc"/>
  <p:tag name="MIO_EK" val="2518"/>
  <p:tag name="MIO_EKGUID" val="66861cad-1d38-4182-9662-1f050ef1397e"/>
  <p:tag name="MIO_UPDATE" val="True"/>
  <p:tag name="MIO_VERSION" val="05.06.2017 17:04:51"/>
  <p:tag name="MIO_DBID" val="218709A9-2117-4AF1-A1EA-309C9A305E58"/>
  <p:tag name="MIO_LASTDOWNLOADED" val="17.07.2018 17:15:29"/>
  <p:tag name="MIO_OBJECTNAME" val="Controller_High"/>
  <p:tag name="MIO_LASTEDITORNAME" val="Michaela Kapall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VCTCREATESHAPEHANDLED" val="0"/>
  <p:tag name="MIO_GUID" val="0922e265-ccd4-4bb9-89b0-e01f20386b53"/>
  <p:tag name="MIO_EK" val="2518"/>
  <p:tag name="MIO_EKGUID" val="66861cad-1d38-4182-9662-1f050ef1397e"/>
  <p:tag name="MIO_UPDATE" val="True"/>
  <p:tag name="MIO_VERSION" val="05.06.2017 17:04:51"/>
  <p:tag name="MIO_DBID" val="218709A9-2117-4AF1-A1EA-309C9A305E58"/>
  <p:tag name="MIO_LASTDOWNLOADED" val="17.07.2018 17:15:29"/>
  <p:tag name="MIO_OBJECTNAME" val="Controller_High"/>
  <p:tag name="MIO_LASTEDITORNAME" val="Michaela Kapall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e61fa12-e591-43bc-b05e-b26140aaacb6"/>
  <p:tag name="MIO_EK" val="674"/>
  <p:tag name="MIO_EKGUID" val="00c2d5a7-01b6-47b9-b6ef-ee73ff8bcb3b"/>
  <p:tag name="MIO_UPDATE" val="True"/>
  <p:tag name="MIO_VERSION" val="21.09.2015 16:37:42"/>
  <p:tag name="MIO_DBID" val="218709A9-2117-4AF1-A1EA-309C9A305E58"/>
  <p:tag name="MIO_LASTDOWNLOADED" val="17.07.2018 15:25:16"/>
  <p:tag name="MIO_OBJECTNAME" val="Value Chain with Textboxes"/>
  <p:tag name="MIO_LASTEDITORNAME" val="empower enterpris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70fa1d6-6f5f-4f7e-8b84-4ec73f5cbd39"/>
  <p:tag name="MIO_EK" val="2530"/>
  <p:tag name="MIO_EKGUID" val="c495a97d-ed61-4020-9ed1-7d90810985ee"/>
  <p:tag name="MIO_UPDATE" val="True"/>
  <p:tag name="MIO_VERSION" val="22.08.2017 10:48:52"/>
  <p:tag name="MIO_DBID" val="218709A9-2117-4AF1-A1EA-309C9A305E58"/>
  <p:tag name="MIO_LASTDOWNLOADED" val="17.07.2018 15:43:49"/>
  <p:tag name="MIO_OBJECTNAME" val="Title"/>
  <p:tag name="MIO_LASTEDITORNAME" val="Michaela Kapall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GUID" val="a7318440-d178-4032-8d2d-c8550f1d93fd"/>
  <p:tag name="MIO_EK" val="2518"/>
  <p:tag name="MIO_EKGUID" val="66861cad-1d38-4182-9662-1f050ef1397e"/>
  <p:tag name="MIO_UPDATE" val="True"/>
  <p:tag name="MIO_VERSION" val="05.06.2017 17:04:51"/>
  <p:tag name="MIO_DBID" val="218709A9-2117-4AF1-A1EA-309C9A305E58"/>
  <p:tag name="MIO_LASTDOWNLOADED" val="17.07.2018 17:15:29"/>
  <p:tag name="MIO_OBJECTNAME" val="Controller_High"/>
  <p:tag name="MIO_LASTEDITORNAME" val="Michaela Kapalla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88</TotalTime>
  <Words>1478</Words>
  <Application>Microsoft Office PowerPoint</Application>
  <PresentationFormat>Grand écran</PresentationFormat>
  <Paragraphs>635</Paragraphs>
  <Slides>32</Slides>
  <Notes>22</Notes>
  <HiddenSlides>0</HiddenSlides>
  <MMClips>0</MMClips>
  <ScaleCrop>false</ScaleCrop>
  <HeadingPairs>
    <vt:vector size="6" baseType="variant">
      <vt:variant>
        <vt:lpstr>Polices utilisées</vt:lpstr>
      </vt:variant>
      <vt:variant>
        <vt:i4>9</vt:i4>
      </vt:variant>
      <vt:variant>
        <vt:lpstr>Thème</vt:lpstr>
      </vt:variant>
      <vt:variant>
        <vt:i4>1</vt:i4>
      </vt:variant>
      <vt:variant>
        <vt:lpstr>Titres des diapositives</vt:lpstr>
      </vt:variant>
      <vt:variant>
        <vt:i4>32</vt:i4>
      </vt:variant>
    </vt:vector>
  </HeadingPairs>
  <TitlesOfParts>
    <vt:vector size="42" baseType="lpstr">
      <vt:lpstr>Arial</vt:lpstr>
      <vt:lpstr>Arial Narrow</vt:lpstr>
      <vt:lpstr>Calibri</vt:lpstr>
      <vt:lpstr>Calibri Light</vt:lpstr>
      <vt:lpstr>Cambria Math</vt:lpstr>
      <vt:lpstr>Merck</vt:lpstr>
      <vt:lpstr>Raleway</vt:lpstr>
      <vt:lpstr>Reem Kufi Regular</vt:lpstr>
      <vt:lpstr>Verdana</vt:lpstr>
      <vt:lpstr>Thème Office</vt:lpstr>
      <vt:lpstr>Projet de création d’applications de   Text-mining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Jeremy Laurent</dc:creator>
  <cp:lastModifiedBy>Jeremy Laurent</cp:lastModifiedBy>
  <cp:revision>37</cp:revision>
  <dcterms:created xsi:type="dcterms:W3CDTF">2019-05-13T09:03:13Z</dcterms:created>
  <dcterms:modified xsi:type="dcterms:W3CDTF">2019-05-31T17:10:09Z</dcterms:modified>
</cp:coreProperties>
</file>